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63" r:id="rId2"/>
  </p:sldIdLst>
  <p:sldSz cx="30279975" cy="42808525"/>
  <p:notesSz cx="6669088" cy="9918700"/>
  <p:custDataLst>
    <p:tags r:id="rId5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8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8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8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8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8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8200" kern="1200">
        <a:solidFill>
          <a:schemeClr val="tx1"/>
        </a:solidFill>
        <a:latin typeface="Arial" pitchFamily="34" charset="0"/>
        <a:ea typeface="+mn-ea"/>
        <a:cs typeface="+mn-cs"/>
      </a:defRPr>
    </a:lvl6pPr>
    <a:lvl7pPr marL="2743200" algn="l" defTabSz="914400" rtl="0" eaLnBrk="1" latinLnBrk="0" hangingPunct="1">
      <a:defRPr sz="8200" kern="1200">
        <a:solidFill>
          <a:schemeClr val="tx1"/>
        </a:solidFill>
        <a:latin typeface="Arial" pitchFamily="34" charset="0"/>
        <a:ea typeface="+mn-ea"/>
        <a:cs typeface="+mn-cs"/>
      </a:defRPr>
    </a:lvl7pPr>
    <a:lvl8pPr marL="3200400" algn="l" defTabSz="914400" rtl="0" eaLnBrk="1" latinLnBrk="0" hangingPunct="1">
      <a:defRPr sz="8200" kern="1200">
        <a:solidFill>
          <a:schemeClr val="tx1"/>
        </a:solidFill>
        <a:latin typeface="Arial" pitchFamily="34" charset="0"/>
        <a:ea typeface="+mn-ea"/>
        <a:cs typeface="+mn-cs"/>
      </a:defRPr>
    </a:lvl8pPr>
    <a:lvl9pPr marL="3657600" algn="l" defTabSz="914400" rtl="0" eaLnBrk="1" latinLnBrk="0" hangingPunct="1">
      <a:defRPr sz="8200" kern="1200">
        <a:solidFill>
          <a:schemeClr val="tx1"/>
        </a:solidFill>
        <a:latin typeface="Arial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3484">
          <p15:clr>
            <a:srgbClr val="A4A3A4"/>
          </p15:clr>
        </p15:guide>
        <p15:guide id="2" pos="953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91735"/>
    <a:srgbClr val="E9463F"/>
    <a:srgbClr val="EA473F"/>
    <a:srgbClr val="EA4740"/>
    <a:srgbClr val="E9473F"/>
    <a:srgbClr val="F3AD31"/>
    <a:srgbClr val="FCB017"/>
    <a:srgbClr val="005274"/>
    <a:srgbClr val="76C2E5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976" autoAdjust="0"/>
    <p:restoredTop sz="96796" autoAdjust="0"/>
  </p:normalViewPr>
  <p:slideViewPr>
    <p:cSldViewPr snapToObjects="1">
      <p:cViewPr>
        <p:scale>
          <a:sx n="25" d="100"/>
          <a:sy n="25" d="100"/>
        </p:scale>
        <p:origin x="2076" y="18"/>
      </p:cViewPr>
      <p:guideLst>
        <p:guide orient="horz" pos="13484"/>
        <p:guide pos="953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 snapToObjects="1">
      <p:cViewPr varScale="1">
        <p:scale>
          <a:sx n="84" d="100"/>
          <a:sy n="84" d="100"/>
        </p:scale>
        <p:origin x="3288" y="114"/>
      </p:cViewPr>
      <p:guideLst/>
    </p:cSldViewPr>
  </p:notesViewPr>
  <p:gridSpacing cx="72010" cy="7201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25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778250" y="0"/>
            <a:ext cx="288925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6E4CCED-CBB8-4776-AA7D-D035AC5F25DF}" type="datetimeFigureOut">
              <a:rPr lang="en-US" smtClean="0"/>
              <a:t>8/26/2019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1813"/>
            <a:ext cx="288925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778250" y="9421813"/>
            <a:ext cx="288925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F850621-FB40-47A0-820B-6ADB77309449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258587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890838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74" tIns="45338" rIns="90674" bIns="45338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776663" y="0"/>
            <a:ext cx="2890837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74" tIns="45338" rIns="90674" bIns="45338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07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020888" y="744538"/>
            <a:ext cx="2627312" cy="37179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66750" y="4711700"/>
            <a:ext cx="5335588" cy="4462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74" tIns="45338" rIns="90674" bIns="4533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Textmasterformate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0225"/>
            <a:ext cx="2890838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74" tIns="45338" rIns="90674" bIns="45338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776663" y="9420225"/>
            <a:ext cx="2890837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74" tIns="45338" rIns="90674" bIns="45338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pPr>
              <a:defRPr/>
            </a:pPr>
            <a:fld id="{694D4FA0-5753-4C46-89AC-2658C40393F3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8944697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13F7780-CDDA-4728-B967-C959834FDFDD}" type="slidenum">
              <a:rPr lang="de-DE" smtClean="0">
                <a:latin typeface="Arial" pitchFamily="34" charset="0"/>
              </a:rPr>
              <a:pPr/>
              <a:t>1</a:t>
            </a:fld>
            <a:endParaRPr lang="de-DE">
              <a:latin typeface="Arial" pitchFamily="34" charset="0"/>
            </a:endParaRPr>
          </a:p>
        </p:txBody>
      </p:sp>
      <p:sp>
        <p:nvSpPr>
          <p:cNvPr id="40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10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de-DE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76863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tsches Po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"/>
          <p:cNvSpPr>
            <a:spLocks noChangeArrowheads="1"/>
          </p:cNvSpPr>
          <p:nvPr userDrawn="1"/>
        </p:nvSpPr>
        <p:spPr bwMode="auto">
          <a:xfrm>
            <a:off x="-25400" y="0"/>
            <a:ext cx="30305375" cy="38871525"/>
          </a:xfrm>
          <a:prstGeom prst="rect">
            <a:avLst/>
          </a:prstGeom>
          <a:solidFill>
            <a:srgbClr val="CCCCCC"/>
          </a:solidFill>
          <a:ln w="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defTabSz="4159250">
              <a:defRPr/>
            </a:pPr>
            <a:endParaRPr lang="de-DE">
              <a:latin typeface="Arial" charset="0"/>
            </a:endParaRPr>
          </a:p>
        </p:txBody>
      </p:sp>
      <p:sp>
        <p:nvSpPr>
          <p:cNvPr id="47" name="Textplatzhalter 46"/>
          <p:cNvSpPr>
            <a:spLocks noGrp="1"/>
          </p:cNvSpPr>
          <p:nvPr>
            <p:ph type="body" sz="quarter" idx="10"/>
          </p:nvPr>
        </p:nvSpPr>
        <p:spPr>
          <a:xfrm>
            <a:off x="1169988" y="1176296"/>
            <a:ext cx="27940000" cy="5653950"/>
          </a:xfrm>
          <a:solidFill>
            <a:srgbClr val="E9473F"/>
          </a:solidFill>
          <a:ln>
            <a:solidFill>
              <a:srgbClr val="EA4740"/>
            </a:solidFill>
          </a:ln>
        </p:spPr>
        <p:txBody>
          <a:bodyPr tIns="306000" bIns="90000"/>
          <a:lstStyle>
            <a:lvl1pPr>
              <a:lnSpc>
                <a:spcPct val="92000"/>
              </a:lnSpc>
              <a:spcAft>
                <a:spcPts val="960"/>
              </a:spcAft>
              <a:defRPr sz="8000">
                <a:solidFill>
                  <a:schemeClr val="bg1"/>
                </a:solidFill>
              </a:defRPr>
            </a:lvl1pPr>
            <a:lvl2pPr marL="0" indent="0">
              <a:defRPr sz="36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3600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3600">
                <a:solidFill>
                  <a:schemeClr val="bg1"/>
                </a:solidFill>
              </a:defRPr>
            </a:lvl4pPr>
            <a:lvl5pPr marL="0" indent="0">
              <a:buFontTx/>
              <a:buNone/>
              <a:defRPr sz="36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9" name="Textplatzhalter 48"/>
          <p:cNvSpPr>
            <a:spLocks noGrp="1"/>
          </p:cNvSpPr>
          <p:nvPr>
            <p:ph type="body" sz="quarter" idx="11"/>
          </p:nvPr>
        </p:nvSpPr>
        <p:spPr>
          <a:xfrm>
            <a:off x="1169988" y="7412579"/>
            <a:ext cx="10369550" cy="9604467"/>
          </a:xfrm>
          <a:solidFill>
            <a:schemeClr val="bg1"/>
          </a:solidFill>
        </p:spPr>
        <p:txBody>
          <a:bodyPr/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0" name="Textplatzhalter 48"/>
          <p:cNvSpPr>
            <a:spLocks noGrp="1"/>
          </p:cNvSpPr>
          <p:nvPr>
            <p:ph type="body" sz="quarter" idx="12"/>
          </p:nvPr>
        </p:nvSpPr>
        <p:spPr>
          <a:xfrm>
            <a:off x="12115800" y="7412579"/>
            <a:ext cx="16993650" cy="9604467"/>
          </a:xfrm>
          <a:solidFill>
            <a:schemeClr val="bg1"/>
          </a:solidFill>
        </p:spPr>
        <p:txBody>
          <a:bodyPr/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1" name="Textplatzhalter 48"/>
          <p:cNvSpPr>
            <a:spLocks noGrp="1"/>
          </p:cNvSpPr>
          <p:nvPr>
            <p:ph type="body" sz="quarter" idx="13"/>
          </p:nvPr>
        </p:nvSpPr>
        <p:spPr>
          <a:xfrm>
            <a:off x="1151477" y="17561324"/>
            <a:ext cx="17012698" cy="9350764"/>
          </a:xfrm>
          <a:solidFill>
            <a:schemeClr val="bg1"/>
          </a:solidFill>
        </p:spPr>
        <p:txBody>
          <a:bodyPr/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2" name="Textplatzhalter 48"/>
          <p:cNvSpPr>
            <a:spLocks noGrp="1"/>
          </p:cNvSpPr>
          <p:nvPr>
            <p:ph type="body" sz="quarter" idx="14"/>
          </p:nvPr>
        </p:nvSpPr>
        <p:spPr>
          <a:xfrm>
            <a:off x="18740439" y="17561324"/>
            <a:ext cx="10350499" cy="9350764"/>
          </a:xfrm>
          <a:solidFill>
            <a:schemeClr val="bg1"/>
          </a:solidFill>
        </p:spPr>
        <p:txBody>
          <a:bodyPr/>
          <a:lstStyle>
            <a:lvl1pPr marL="0" indent="0">
              <a:defRPr/>
            </a:lvl1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3" name="Textplatzhalter 48"/>
          <p:cNvSpPr>
            <a:spLocks noGrp="1"/>
          </p:cNvSpPr>
          <p:nvPr>
            <p:ph type="body" sz="quarter" idx="15"/>
          </p:nvPr>
        </p:nvSpPr>
        <p:spPr>
          <a:xfrm>
            <a:off x="1151477" y="27457549"/>
            <a:ext cx="27939461" cy="9894627"/>
          </a:xfrm>
          <a:solidFill>
            <a:schemeClr val="bg1"/>
          </a:solidFill>
        </p:spPr>
        <p:txBody>
          <a:bodyPr/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grpSp>
        <p:nvGrpSpPr>
          <p:cNvPr id="18" name="Group 18"/>
          <p:cNvGrpSpPr>
            <a:grpSpLocks/>
          </p:cNvGrpSpPr>
          <p:nvPr userDrawn="1"/>
        </p:nvGrpSpPr>
        <p:grpSpPr bwMode="auto">
          <a:xfrm>
            <a:off x="-54123" y="42496740"/>
            <a:ext cx="30358080" cy="354304"/>
            <a:chOff x="0" y="6096000"/>
            <a:chExt cx="8686800" cy="76200"/>
          </a:xfrm>
        </p:grpSpPr>
        <p:sp>
          <p:nvSpPr>
            <p:cNvPr id="19" name="Rectangle 18"/>
            <p:cNvSpPr/>
            <p:nvPr userDrawn="1"/>
          </p:nvSpPr>
          <p:spPr>
            <a:xfrm>
              <a:off x="2895448" y="6096000"/>
              <a:ext cx="2895903" cy="76200"/>
            </a:xfrm>
            <a:prstGeom prst="rect">
              <a:avLst/>
            </a:prstGeom>
            <a:solidFill>
              <a:srgbClr val="76C2E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/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0" y="6096000"/>
              <a:ext cx="2895448" cy="76200"/>
            </a:xfrm>
            <a:prstGeom prst="rect">
              <a:avLst/>
            </a:prstGeom>
            <a:solidFill>
              <a:srgbClr val="FCB01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/>
            </a:p>
          </p:txBody>
        </p:sp>
        <p:sp>
          <p:nvSpPr>
            <p:cNvPr id="21" name="Rectangle 20"/>
            <p:cNvSpPr/>
            <p:nvPr userDrawn="1"/>
          </p:nvSpPr>
          <p:spPr>
            <a:xfrm>
              <a:off x="5791352" y="6096000"/>
              <a:ext cx="2895448" cy="7620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/>
            </a:p>
          </p:txBody>
        </p:sp>
      </p:grp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935663" y="29966766"/>
            <a:ext cx="18167350" cy="353687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935663" y="3824559"/>
            <a:ext cx="18167350" cy="25685114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5935663" y="33503644"/>
            <a:ext cx="18167350" cy="502482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65F517D-7BD7-4259-9195-9EB7EDA1D7F2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83C01A0-A49A-4B6E-A1B5-ED6044EB93DB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21953538" y="1714899"/>
            <a:ext cx="6811962" cy="36525892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1514476" y="1714899"/>
            <a:ext cx="20286663" cy="36525892"/>
          </a:xfrm>
        </p:spPr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F8CC7E7-8D89-4E69-A7EF-114E9E553C01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2271713" y="13298852"/>
            <a:ext cx="25736550" cy="9175424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4541838" y="24257897"/>
            <a:ext cx="21196300" cy="10939868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4760BF1-ADCD-459F-9379-34E92D49AA48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306A694-185F-436D-9202-03D24D77D164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92364" y="27508693"/>
            <a:ext cx="25738137" cy="8502570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392364" y="18144678"/>
            <a:ext cx="25738137" cy="936401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3855C47-30C8-4989-A0E2-E1BA1403E814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514476" y="9988922"/>
            <a:ext cx="13549313" cy="28251869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15216188" y="9988922"/>
            <a:ext cx="13549312" cy="28251869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A6A638A-719E-4C8B-BC00-65BD57869D5D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514475" y="9582973"/>
            <a:ext cx="13377863" cy="399237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1514475" y="13575345"/>
            <a:ext cx="13377863" cy="2466544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15381288" y="9582973"/>
            <a:ext cx="13384212" cy="399237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15381288" y="13575345"/>
            <a:ext cx="13384212" cy="2466544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A9E2ED1-B396-4351-8327-5E4887DCC4A5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981FA41-A031-4A59-816E-41D55DD9CFC2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61A857-2F50-4E63-941D-D9C0C24A557B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514476" y="1703711"/>
            <a:ext cx="9961563" cy="725435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1837988" y="1703711"/>
            <a:ext cx="16927512" cy="3653708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514476" y="8958066"/>
            <a:ext cx="9961563" cy="29282725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E6AF42A-000C-4E5A-9530-23CA676A6EBD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514475" y="1714500"/>
            <a:ext cx="27251025" cy="7134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16006" tIns="208003" rIns="416006" bIns="20800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Titelmasterformat durch Klicken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514475" y="9988550"/>
            <a:ext cx="27251025" cy="28252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576000" tIns="378000" rIns="576000" bIns="270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514475" y="38984238"/>
            <a:ext cx="7064375" cy="297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416006" tIns="208003" rIns="416006" bIns="208003" numCol="1" anchor="t" anchorCtr="0" compatLnSpc="1">
            <a:prstTxWarp prst="textNoShape">
              <a:avLst/>
            </a:prstTxWarp>
          </a:bodyPr>
          <a:lstStyle>
            <a:lvl1pPr>
              <a:defRPr sz="6400">
                <a:latin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0345738" y="38984238"/>
            <a:ext cx="9588500" cy="297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416006" tIns="208003" rIns="416006" bIns="208003" numCol="1" anchor="t" anchorCtr="0" compatLnSpc="1">
            <a:prstTxWarp prst="textNoShape">
              <a:avLst/>
            </a:prstTxWarp>
          </a:bodyPr>
          <a:lstStyle>
            <a:lvl1pPr algn="ctr">
              <a:defRPr sz="6400">
                <a:latin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21701125" y="38984238"/>
            <a:ext cx="7064375" cy="297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416006" tIns="208003" rIns="416006" bIns="208003" numCol="1" anchor="t" anchorCtr="0" compatLnSpc="1">
            <a:prstTxWarp prst="textNoShape">
              <a:avLst/>
            </a:prstTxWarp>
          </a:bodyPr>
          <a:lstStyle>
            <a:lvl1pPr algn="r">
              <a:defRPr sz="6400">
                <a:latin typeface="Arial" charset="0"/>
              </a:defRPr>
            </a:lvl1pPr>
          </a:lstStyle>
          <a:p>
            <a:pPr>
              <a:defRPr/>
            </a:pPr>
            <a:fld id="{9BC6DCE0-3264-4711-9F39-1C3CBBF87DB9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49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</p:sldLayoutIdLst>
  <p:txStyles>
    <p:titleStyle>
      <a:lvl1pPr algn="ctr" defTabSz="4160838" rtl="0" eaLnBrk="0" fontAlgn="base" hangingPunct="0">
        <a:spcBef>
          <a:spcPct val="0"/>
        </a:spcBef>
        <a:spcAft>
          <a:spcPct val="0"/>
        </a:spcAft>
        <a:defRPr sz="20000">
          <a:solidFill>
            <a:schemeClr val="tx2"/>
          </a:solidFill>
          <a:latin typeface="+mj-lt"/>
          <a:ea typeface="+mj-ea"/>
          <a:cs typeface="+mj-cs"/>
        </a:defRPr>
      </a:lvl1pPr>
      <a:lvl2pPr algn="ctr" defTabSz="4160838" rtl="0" eaLnBrk="0" fontAlgn="base" hangingPunct="0">
        <a:spcBef>
          <a:spcPct val="0"/>
        </a:spcBef>
        <a:spcAft>
          <a:spcPct val="0"/>
        </a:spcAft>
        <a:defRPr sz="20000">
          <a:solidFill>
            <a:schemeClr val="tx2"/>
          </a:solidFill>
          <a:latin typeface="Arial" charset="0"/>
        </a:defRPr>
      </a:lvl2pPr>
      <a:lvl3pPr algn="ctr" defTabSz="4160838" rtl="0" eaLnBrk="0" fontAlgn="base" hangingPunct="0">
        <a:spcBef>
          <a:spcPct val="0"/>
        </a:spcBef>
        <a:spcAft>
          <a:spcPct val="0"/>
        </a:spcAft>
        <a:defRPr sz="20000">
          <a:solidFill>
            <a:schemeClr val="tx2"/>
          </a:solidFill>
          <a:latin typeface="Arial" charset="0"/>
        </a:defRPr>
      </a:lvl3pPr>
      <a:lvl4pPr algn="ctr" defTabSz="4160838" rtl="0" eaLnBrk="0" fontAlgn="base" hangingPunct="0">
        <a:spcBef>
          <a:spcPct val="0"/>
        </a:spcBef>
        <a:spcAft>
          <a:spcPct val="0"/>
        </a:spcAft>
        <a:defRPr sz="20000">
          <a:solidFill>
            <a:schemeClr val="tx2"/>
          </a:solidFill>
          <a:latin typeface="Arial" charset="0"/>
        </a:defRPr>
      </a:lvl4pPr>
      <a:lvl5pPr algn="ctr" defTabSz="4160838" rtl="0" eaLnBrk="0" fontAlgn="base" hangingPunct="0">
        <a:spcBef>
          <a:spcPct val="0"/>
        </a:spcBef>
        <a:spcAft>
          <a:spcPct val="0"/>
        </a:spcAft>
        <a:defRPr sz="20000">
          <a:solidFill>
            <a:schemeClr val="tx2"/>
          </a:solidFill>
          <a:latin typeface="Arial" charset="0"/>
        </a:defRPr>
      </a:lvl5pPr>
      <a:lvl6pPr marL="457200" algn="ctr" defTabSz="4160838" rtl="0" fontAlgn="base">
        <a:spcBef>
          <a:spcPct val="0"/>
        </a:spcBef>
        <a:spcAft>
          <a:spcPct val="0"/>
        </a:spcAft>
        <a:defRPr sz="20000">
          <a:solidFill>
            <a:schemeClr val="tx2"/>
          </a:solidFill>
          <a:latin typeface="Arial" charset="0"/>
        </a:defRPr>
      </a:lvl6pPr>
      <a:lvl7pPr marL="914400" algn="ctr" defTabSz="4160838" rtl="0" fontAlgn="base">
        <a:spcBef>
          <a:spcPct val="0"/>
        </a:spcBef>
        <a:spcAft>
          <a:spcPct val="0"/>
        </a:spcAft>
        <a:defRPr sz="20000">
          <a:solidFill>
            <a:schemeClr val="tx2"/>
          </a:solidFill>
          <a:latin typeface="Arial" charset="0"/>
        </a:defRPr>
      </a:lvl7pPr>
      <a:lvl8pPr marL="1371600" algn="ctr" defTabSz="4160838" rtl="0" fontAlgn="base">
        <a:spcBef>
          <a:spcPct val="0"/>
        </a:spcBef>
        <a:spcAft>
          <a:spcPct val="0"/>
        </a:spcAft>
        <a:defRPr sz="20000">
          <a:solidFill>
            <a:schemeClr val="tx2"/>
          </a:solidFill>
          <a:latin typeface="Arial" charset="0"/>
        </a:defRPr>
      </a:lvl8pPr>
      <a:lvl9pPr marL="1828800" algn="ctr" defTabSz="4160838" rtl="0" fontAlgn="base">
        <a:spcBef>
          <a:spcPct val="0"/>
        </a:spcBef>
        <a:spcAft>
          <a:spcPct val="0"/>
        </a:spcAft>
        <a:defRPr sz="20000">
          <a:solidFill>
            <a:schemeClr val="tx2"/>
          </a:solidFill>
          <a:latin typeface="Arial" charset="0"/>
        </a:defRPr>
      </a:lvl9pPr>
    </p:titleStyle>
    <p:bodyStyle>
      <a:lvl1pPr marL="342900" indent="-342900" algn="l" defTabSz="4160838" rtl="0" eaLnBrk="0" fontAlgn="base" hangingPunct="0">
        <a:spcBef>
          <a:spcPct val="0"/>
        </a:spcBef>
        <a:spcAft>
          <a:spcPct val="30000"/>
        </a:spcAft>
        <a:defRPr sz="6000" b="1">
          <a:solidFill>
            <a:schemeClr val="tx1"/>
          </a:solidFill>
          <a:latin typeface="+mn-lt"/>
          <a:ea typeface="+mn-ea"/>
          <a:cs typeface="+mn-cs"/>
        </a:defRPr>
      </a:lvl1pPr>
      <a:lvl2pPr marL="1588" indent="455613" algn="l" defTabSz="4160838" rtl="0" eaLnBrk="0" fontAlgn="base" hangingPunct="0">
        <a:spcBef>
          <a:spcPct val="20000"/>
        </a:spcBef>
        <a:spcAft>
          <a:spcPct val="0"/>
        </a:spcAft>
        <a:buFont typeface="Arial" pitchFamily="34" charset="0"/>
        <a:defRPr sz="3200">
          <a:solidFill>
            <a:schemeClr val="tx1"/>
          </a:solidFill>
          <a:latin typeface="+mn-lt"/>
        </a:defRPr>
      </a:lvl2pPr>
      <a:lvl3pPr marL="439738" indent="-436563" algn="l" defTabSz="4160838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■"/>
        <a:defRPr sz="3200">
          <a:solidFill>
            <a:schemeClr val="tx1"/>
          </a:solidFill>
          <a:latin typeface="+mn-lt"/>
        </a:defRPr>
      </a:lvl3pPr>
      <a:lvl4pPr marL="441325" indent="930275" algn="l" defTabSz="4160838" rtl="0" eaLnBrk="0" fontAlgn="base" hangingPunct="0">
        <a:spcBef>
          <a:spcPct val="20000"/>
        </a:spcBef>
        <a:spcAft>
          <a:spcPct val="0"/>
        </a:spcAft>
        <a:defRPr sz="3200">
          <a:solidFill>
            <a:schemeClr val="tx1"/>
          </a:solidFill>
          <a:latin typeface="+mn-lt"/>
        </a:defRPr>
      </a:lvl4pPr>
      <a:lvl5pPr marL="442913" indent="1385888" algn="l" defTabSz="4160838" rtl="0" eaLnBrk="0" fontAlgn="base" hangingPunct="0">
        <a:spcBef>
          <a:spcPct val="20000"/>
        </a:spcBef>
        <a:spcAft>
          <a:spcPct val="0"/>
        </a:spcAft>
        <a:defRPr sz="3200">
          <a:solidFill>
            <a:schemeClr val="tx1"/>
          </a:solidFill>
          <a:latin typeface="+mn-lt"/>
        </a:defRPr>
      </a:lvl5pPr>
      <a:lvl6pPr marL="900113" algn="l" defTabSz="4160838" rtl="0" fontAlgn="base">
        <a:spcBef>
          <a:spcPct val="20000"/>
        </a:spcBef>
        <a:spcAft>
          <a:spcPct val="0"/>
        </a:spcAft>
        <a:defRPr sz="3200">
          <a:solidFill>
            <a:schemeClr val="tx1"/>
          </a:solidFill>
          <a:latin typeface="+mn-lt"/>
        </a:defRPr>
      </a:lvl6pPr>
      <a:lvl7pPr marL="1357313" algn="l" defTabSz="4160838" rtl="0" fontAlgn="base">
        <a:spcBef>
          <a:spcPct val="20000"/>
        </a:spcBef>
        <a:spcAft>
          <a:spcPct val="0"/>
        </a:spcAft>
        <a:defRPr sz="3200">
          <a:solidFill>
            <a:schemeClr val="tx1"/>
          </a:solidFill>
          <a:latin typeface="+mn-lt"/>
        </a:defRPr>
      </a:lvl7pPr>
      <a:lvl8pPr marL="1814513" algn="l" defTabSz="4160838" rtl="0" fontAlgn="base">
        <a:spcBef>
          <a:spcPct val="20000"/>
        </a:spcBef>
        <a:spcAft>
          <a:spcPct val="0"/>
        </a:spcAft>
        <a:defRPr sz="3200">
          <a:solidFill>
            <a:schemeClr val="tx1"/>
          </a:solidFill>
          <a:latin typeface="+mn-lt"/>
        </a:defRPr>
      </a:lvl8pPr>
      <a:lvl9pPr marL="2271713" algn="l" defTabSz="4160838" rtl="0" fontAlgn="base">
        <a:spcBef>
          <a:spcPct val="20000"/>
        </a:spcBef>
        <a:spcAft>
          <a:spcPct val="0"/>
        </a:spcAft>
        <a:defRPr sz="32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" name="Textplatzhalter 8">
            <a:extLst>
              <a:ext uri="{FF2B5EF4-FFF2-40B4-BE49-F238E27FC236}">
                <a16:creationId xmlns:a16="http://schemas.microsoft.com/office/drawing/2014/main" id="{67671308-F940-4AAE-94A4-E0B59D8A3BB4}"/>
              </a:ext>
            </a:extLst>
          </p:cNvPr>
          <p:cNvSpPr txBox="1">
            <a:spLocks/>
          </p:cNvSpPr>
          <p:nvPr/>
        </p:nvSpPr>
        <p:spPr bwMode="auto">
          <a:xfrm>
            <a:off x="1157288" y="7617603"/>
            <a:ext cx="15122128" cy="988928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576000" tIns="378000" rIns="576000" bIns="270000" numCol="1" anchor="t" anchorCtr="0" compatLnSpc="1">
            <a:prstTxWarp prst="textNoShape">
              <a:avLst/>
            </a:prstTxWarp>
          </a:bodyPr>
          <a:lstStyle>
            <a:lvl1pPr marL="342900" indent="-342900" algn="l" defTabSz="4160838" rtl="0" eaLnBrk="0" fontAlgn="base" hangingPunct="0">
              <a:spcBef>
                <a:spcPct val="0"/>
              </a:spcBef>
              <a:spcAft>
                <a:spcPct val="30000"/>
              </a:spcAft>
              <a:defRPr sz="60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88" indent="455613" algn="l" defTabSz="4160838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defRPr sz="3200">
                <a:solidFill>
                  <a:schemeClr val="tx1"/>
                </a:solidFill>
                <a:latin typeface="+mn-lt"/>
              </a:defRPr>
            </a:lvl2pPr>
            <a:lvl3pPr marL="439738" indent="-436563" algn="l" defTabSz="4160838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■"/>
              <a:defRPr sz="3200">
                <a:solidFill>
                  <a:schemeClr val="tx1"/>
                </a:solidFill>
                <a:latin typeface="+mn-lt"/>
              </a:defRPr>
            </a:lvl3pPr>
            <a:lvl4pPr marL="441325" indent="930275" algn="l" defTabSz="4160838" rtl="0" eaLnBrk="0" fontAlgn="base" hangingPunct="0">
              <a:spcBef>
                <a:spcPct val="2000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+mn-lt"/>
              </a:defRPr>
            </a:lvl4pPr>
            <a:lvl5pPr marL="442913" indent="1385888" algn="l" defTabSz="4160838" rtl="0" eaLnBrk="0" fontAlgn="base" hangingPunct="0">
              <a:spcBef>
                <a:spcPct val="2000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+mn-lt"/>
              </a:defRPr>
            </a:lvl5pPr>
            <a:lvl6pPr marL="900113" algn="l" defTabSz="4160838" rtl="0" fontAlgn="base">
              <a:spcBef>
                <a:spcPct val="2000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+mn-lt"/>
              </a:defRPr>
            </a:lvl6pPr>
            <a:lvl7pPr marL="1357313" algn="l" defTabSz="4160838" rtl="0" fontAlgn="base">
              <a:spcBef>
                <a:spcPct val="2000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+mn-lt"/>
              </a:defRPr>
            </a:lvl7pPr>
            <a:lvl8pPr marL="1814513" algn="l" defTabSz="4160838" rtl="0" fontAlgn="base">
              <a:spcBef>
                <a:spcPct val="2000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+mn-lt"/>
              </a:defRPr>
            </a:lvl8pPr>
            <a:lvl9pPr marL="2271713" algn="l" defTabSz="4160838" rtl="0" fontAlgn="base">
              <a:spcBef>
                <a:spcPct val="2000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Aft>
                <a:spcPts val="1200"/>
              </a:spcAft>
            </a:pPr>
            <a:r>
              <a:rPr lang="en-US" kern="0" dirty="0"/>
              <a:t>Motivation and Goal</a:t>
            </a:r>
            <a:endParaRPr lang="de-DE" sz="4000" kern="0" dirty="0"/>
          </a:p>
          <a:p>
            <a:pPr marL="742950" lvl="2" indent="-742950">
              <a:spcBef>
                <a:spcPts val="60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de-DE" sz="40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</a:p>
          <a:p>
            <a:pPr marL="742950" lvl="2" indent="-742950">
              <a:spcBef>
                <a:spcPts val="60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de-DE" sz="40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B</a:t>
            </a:r>
          </a:p>
          <a:p>
            <a:pPr marL="742950" lvl="2" indent="-742950">
              <a:spcBef>
                <a:spcPts val="60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de-DE" sz="40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C</a:t>
            </a:r>
          </a:p>
          <a:p>
            <a:pPr marL="742950" lvl="2" indent="-742950">
              <a:spcBef>
                <a:spcPts val="60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de-DE" sz="40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…</a:t>
            </a:r>
          </a:p>
          <a:p>
            <a:pPr marL="3175" lvl="2" indent="0" algn="ctr">
              <a:buFont typeface="Arial" pitchFamily="34" charset="0"/>
              <a:buNone/>
            </a:pPr>
            <a:endParaRPr lang="de-DE" sz="200" b="1" kern="0" dirty="0" smtClean="0"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131" name="Textplatzhalter 9">
            <a:extLst>
              <a:ext uri="{FF2B5EF4-FFF2-40B4-BE49-F238E27FC236}">
                <a16:creationId xmlns:a16="http://schemas.microsoft.com/office/drawing/2014/main" id="{61609298-A9B2-47DB-A92D-D1F514BC5660}"/>
              </a:ext>
            </a:extLst>
          </p:cNvPr>
          <p:cNvSpPr txBox="1">
            <a:spLocks/>
          </p:cNvSpPr>
          <p:nvPr/>
        </p:nvSpPr>
        <p:spPr bwMode="auto">
          <a:xfrm>
            <a:off x="16963490" y="7617603"/>
            <a:ext cx="12133797" cy="988928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576000" tIns="378000" rIns="576000" bIns="270000" numCol="1" anchor="t" anchorCtr="0" compatLnSpc="1">
            <a:prstTxWarp prst="textNoShape">
              <a:avLst/>
            </a:prstTxWarp>
          </a:bodyPr>
          <a:lstStyle>
            <a:lvl1pPr marL="342900" indent="-342900" algn="l" defTabSz="4160838" rtl="0" eaLnBrk="0" fontAlgn="base" hangingPunct="0">
              <a:spcBef>
                <a:spcPct val="0"/>
              </a:spcBef>
              <a:spcAft>
                <a:spcPct val="30000"/>
              </a:spcAft>
              <a:defRPr sz="60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88" indent="455613" algn="l" defTabSz="4160838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defRPr sz="3200">
                <a:solidFill>
                  <a:schemeClr val="tx1"/>
                </a:solidFill>
                <a:latin typeface="+mn-lt"/>
              </a:defRPr>
            </a:lvl2pPr>
            <a:lvl3pPr marL="439738" indent="-436563" algn="l" defTabSz="4160838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■"/>
              <a:defRPr sz="3200">
                <a:solidFill>
                  <a:schemeClr val="tx1"/>
                </a:solidFill>
                <a:latin typeface="+mn-lt"/>
              </a:defRPr>
            </a:lvl3pPr>
            <a:lvl4pPr marL="441325" indent="930275" algn="l" defTabSz="4160838" rtl="0" eaLnBrk="0" fontAlgn="base" hangingPunct="0">
              <a:spcBef>
                <a:spcPct val="2000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+mn-lt"/>
              </a:defRPr>
            </a:lvl4pPr>
            <a:lvl5pPr marL="442913" indent="1385888" algn="l" defTabSz="4160838" rtl="0" eaLnBrk="0" fontAlgn="base" hangingPunct="0">
              <a:spcBef>
                <a:spcPct val="2000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+mn-lt"/>
              </a:defRPr>
            </a:lvl5pPr>
            <a:lvl6pPr marL="900113" algn="l" defTabSz="4160838" rtl="0" fontAlgn="base">
              <a:spcBef>
                <a:spcPct val="2000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+mn-lt"/>
              </a:defRPr>
            </a:lvl6pPr>
            <a:lvl7pPr marL="1357313" algn="l" defTabSz="4160838" rtl="0" fontAlgn="base">
              <a:spcBef>
                <a:spcPct val="2000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+mn-lt"/>
              </a:defRPr>
            </a:lvl7pPr>
            <a:lvl8pPr marL="1814513" algn="l" defTabSz="4160838" rtl="0" fontAlgn="base">
              <a:spcBef>
                <a:spcPct val="2000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+mn-lt"/>
              </a:defRPr>
            </a:lvl8pPr>
            <a:lvl9pPr marL="2271713" algn="l" defTabSz="4160838" rtl="0" fontAlgn="base">
              <a:spcBef>
                <a:spcPct val="2000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/>
            <a:endParaRPr lang="de-DE" sz="3200" kern="0" dirty="0"/>
          </a:p>
          <a:p>
            <a:pPr marL="0" indent="0"/>
            <a:endParaRPr lang="de-DE" sz="3200" kern="0" dirty="0"/>
          </a:p>
          <a:p>
            <a:pPr marL="0" indent="0"/>
            <a:endParaRPr lang="de-DE" sz="3200" kern="0" dirty="0"/>
          </a:p>
          <a:p>
            <a:pPr marL="0" indent="0"/>
            <a:endParaRPr lang="de-DE" sz="3200" kern="0" dirty="0"/>
          </a:p>
          <a:p>
            <a:pPr marL="0" indent="0"/>
            <a:endParaRPr lang="de-DE" sz="3200" kern="0" dirty="0"/>
          </a:p>
          <a:p>
            <a:pPr marL="0" indent="0"/>
            <a:endParaRPr lang="de-DE" sz="3200" kern="0" dirty="0"/>
          </a:p>
          <a:p>
            <a:pPr marL="0" indent="0"/>
            <a:endParaRPr lang="de-DE" sz="3200" kern="0" dirty="0"/>
          </a:p>
          <a:p>
            <a:pPr marL="0" indent="0"/>
            <a:endParaRPr lang="de-DE" sz="3200" kern="0" dirty="0"/>
          </a:p>
          <a:p>
            <a:pPr marL="0" indent="0"/>
            <a:endParaRPr lang="en-GB" sz="3200" kern="0" dirty="0"/>
          </a:p>
          <a:p>
            <a:pPr marL="0" indent="0"/>
            <a:endParaRPr lang="en-GB" sz="3200" kern="0" dirty="0"/>
          </a:p>
          <a:p>
            <a:pPr marL="0" indent="0"/>
            <a:endParaRPr lang="en-GB" sz="3200" kern="0" dirty="0"/>
          </a:p>
          <a:p>
            <a:pPr marL="0" indent="0"/>
            <a:endParaRPr lang="en-GB" sz="3200" kern="0" dirty="0"/>
          </a:p>
          <a:p>
            <a:pPr marL="0" indent="0"/>
            <a:endParaRPr lang="en-GB" sz="3200" kern="0" dirty="0"/>
          </a:p>
        </p:txBody>
      </p:sp>
      <p:sp>
        <p:nvSpPr>
          <p:cNvPr id="132" name="Textplatzhalter 10">
            <a:extLst>
              <a:ext uri="{FF2B5EF4-FFF2-40B4-BE49-F238E27FC236}">
                <a16:creationId xmlns:a16="http://schemas.microsoft.com/office/drawing/2014/main" id="{E7904844-81AF-4A96-909A-514574234914}"/>
              </a:ext>
            </a:extLst>
          </p:cNvPr>
          <p:cNvSpPr txBox="1">
            <a:spLocks/>
          </p:cNvSpPr>
          <p:nvPr/>
        </p:nvSpPr>
        <p:spPr bwMode="auto">
          <a:xfrm>
            <a:off x="1157288" y="18050220"/>
            <a:ext cx="13251600" cy="1018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576000" tIns="378000" rIns="576000" bIns="270000" numCol="1" anchor="t" anchorCtr="0" compatLnSpc="1">
            <a:prstTxWarp prst="textNoShape">
              <a:avLst/>
            </a:prstTxWarp>
          </a:bodyPr>
          <a:lstStyle>
            <a:lvl1pPr marL="342900" indent="-342900" algn="l" defTabSz="4160838" rtl="0" eaLnBrk="0" fontAlgn="base" hangingPunct="0">
              <a:spcBef>
                <a:spcPct val="0"/>
              </a:spcBef>
              <a:spcAft>
                <a:spcPct val="30000"/>
              </a:spcAft>
              <a:defRPr sz="60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88" indent="455613" algn="l" defTabSz="4160838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defRPr sz="3200">
                <a:solidFill>
                  <a:schemeClr val="tx1"/>
                </a:solidFill>
                <a:latin typeface="+mn-lt"/>
              </a:defRPr>
            </a:lvl2pPr>
            <a:lvl3pPr marL="439738" indent="-436563" algn="l" defTabSz="4160838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■"/>
              <a:defRPr sz="3200">
                <a:solidFill>
                  <a:schemeClr val="tx1"/>
                </a:solidFill>
                <a:latin typeface="+mn-lt"/>
              </a:defRPr>
            </a:lvl3pPr>
            <a:lvl4pPr marL="441325" indent="930275" algn="l" defTabSz="4160838" rtl="0" eaLnBrk="0" fontAlgn="base" hangingPunct="0">
              <a:spcBef>
                <a:spcPct val="2000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+mn-lt"/>
              </a:defRPr>
            </a:lvl4pPr>
            <a:lvl5pPr marL="442913" indent="1385888" algn="l" defTabSz="4160838" rtl="0" eaLnBrk="0" fontAlgn="base" hangingPunct="0">
              <a:spcBef>
                <a:spcPct val="2000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+mn-lt"/>
              </a:defRPr>
            </a:lvl5pPr>
            <a:lvl6pPr marL="900113" algn="l" defTabSz="4160838" rtl="0" fontAlgn="base">
              <a:spcBef>
                <a:spcPct val="2000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+mn-lt"/>
              </a:defRPr>
            </a:lvl6pPr>
            <a:lvl7pPr marL="1357313" algn="l" defTabSz="4160838" rtl="0" fontAlgn="base">
              <a:spcBef>
                <a:spcPct val="2000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+mn-lt"/>
              </a:defRPr>
            </a:lvl7pPr>
            <a:lvl8pPr marL="1814513" algn="l" defTabSz="4160838" rtl="0" fontAlgn="base">
              <a:spcBef>
                <a:spcPct val="2000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+mn-lt"/>
              </a:defRPr>
            </a:lvl8pPr>
            <a:lvl9pPr marL="2271713" algn="l" defTabSz="4160838" rtl="0" fontAlgn="base">
              <a:spcBef>
                <a:spcPct val="2000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Aft>
                <a:spcPts val="1200"/>
              </a:spcAft>
            </a:pPr>
            <a:r>
              <a:rPr lang="en-US" kern="0" dirty="0"/>
              <a:t>Approach</a:t>
            </a:r>
          </a:p>
          <a:p>
            <a:pPr marL="742950" lvl="2" indent="-742950">
              <a:spcBef>
                <a:spcPts val="60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4000" kern="0" dirty="0" smtClean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</a:t>
            </a:r>
          </a:p>
          <a:p>
            <a:pPr marL="742950" lvl="2" indent="-742950">
              <a:spcBef>
                <a:spcPts val="60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40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B</a:t>
            </a:r>
          </a:p>
          <a:p>
            <a:pPr marL="742950" lvl="2" indent="-742950">
              <a:spcBef>
                <a:spcPts val="60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4000" kern="0" dirty="0" smtClean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</a:t>
            </a:r>
          </a:p>
          <a:p>
            <a:pPr marL="742950" lvl="2" indent="-742950">
              <a:spcBef>
                <a:spcPts val="60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40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…</a:t>
            </a:r>
            <a:endParaRPr lang="en-US" sz="4000" kern="0" dirty="0"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3" name="Textplatzhalter 9">
            <a:extLst>
              <a:ext uri="{FF2B5EF4-FFF2-40B4-BE49-F238E27FC236}">
                <a16:creationId xmlns:a16="http://schemas.microsoft.com/office/drawing/2014/main" id="{AC7AD159-96F9-46CB-A1BF-55EF3C6EE78D}"/>
              </a:ext>
            </a:extLst>
          </p:cNvPr>
          <p:cNvSpPr txBox="1">
            <a:spLocks/>
          </p:cNvSpPr>
          <p:nvPr/>
        </p:nvSpPr>
        <p:spPr bwMode="auto">
          <a:xfrm>
            <a:off x="15091285" y="18050220"/>
            <a:ext cx="14006003" cy="1018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576000" tIns="378000" rIns="576000" bIns="270000" numCol="1" anchor="t" anchorCtr="0" compatLnSpc="1">
            <a:prstTxWarp prst="textNoShape">
              <a:avLst/>
            </a:prstTxWarp>
          </a:bodyPr>
          <a:lstStyle>
            <a:lvl1pPr marL="342900" indent="-342900" algn="l" defTabSz="4160838" rtl="0" eaLnBrk="0" fontAlgn="base" hangingPunct="0">
              <a:spcBef>
                <a:spcPct val="0"/>
              </a:spcBef>
              <a:spcAft>
                <a:spcPct val="30000"/>
              </a:spcAft>
              <a:defRPr sz="60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160838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+mn-lt"/>
              </a:defRPr>
            </a:lvl2pPr>
            <a:lvl3pPr marL="439738" indent="-436563" algn="l" defTabSz="4160838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■"/>
              <a:defRPr sz="3200">
                <a:solidFill>
                  <a:schemeClr val="tx1"/>
                </a:solidFill>
                <a:latin typeface="+mn-lt"/>
              </a:defRPr>
            </a:lvl3pPr>
            <a:lvl4pPr marL="874713" indent="-434975" algn="l" defTabSz="4160838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■"/>
              <a:defRPr sz="3200">
                <a:solidFill>
                  <a:schemeClr val="tx1"/>
                </a:solidFill>
                <a:latin typeface="+mn-lt"/>
              </a:defRPr>
            </a:lvl4pPr>
            <a:lvl5pPr marL="1309688" indent="-434975" algn="l" defTabSz="4160838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■"/>
              <a:defRPr sz="3200">
                <a:solidFill>
                  <a:schemeClr val="tx1"/>
                </a:solidFill>
                <a:latin typeface="+mn-lt"/>
              </a:defRPr>
            </a:lvl5pPr>
            <a:lvl6pPr marL="900113" algn="l" defTabSz="4160838" rtl="0" fontAlgn="base">
              <a:spcBef>
                <a:spcPct val="2000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+mn-lt"/>
              </a:defRPr>
            </a:lvl6pPr>
            <a:lvl7pPr marL="1357313" algn="l" defTabSz="4160838" rtl="0" fontAlgn="base">
              <a:spcBef>
                <a:spcPct val="2000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+mn-lt"/>
              </a:defRPr>
            </a:lvl7pPr>
            <a:lvl8pPr marL="1814513" algn="l" defTabSz="4160838" rtl="0" fontAlgn="base">
              <a:spcBef>
                <a:spcPct val="2000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+mn-lt"/>
              </a:defRPr>
            </a:lvl8pPr>
            <a:lvl9pPr marL="2271713" algn="l" defTabSz="4160838" rtl="0" fontAlgn="base">
              <a:spcBef>
                <a:spcPct val="2000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/>
            <a:endParaRPr lang="en-US" kern="0" dirty="0"/>
          </a:p>
          <a:p>
            <a:pPr marL="0" indent="0"/>
            <a:endParaRPr lang="en-US" kern="0" dirty="0"/>
          </a:p>
          <a:p>
            <a:pPr marL="0" indent="0"/>
            <a:endParaRPr lang="en-US" kern="0" dirty="0"/>
          </a:p>
          <a:p>
            <a:pPr marL="0" indent="0"/>
            <a:endParaRPr lang="en-US" kern="0" dirty="0"/>
          </a:p>
          <a:p>
            <a:pPr marL="0" indent="0"/>
            <a:endParaRPr lang="en-US" kern="0" dirty="0"/>
          </a:p>
          <a:p>
            <a:pPr marL="0" indent="0"/>
            <a:endParaRPr lang="en-US" kern="0" dirty="0"/>
          </a:p>
          <a:p>
            <a:pPr marL="0" indent="0"/>
            <a:endParaRPr lang="en-US" kern="0" dirty="0"/>
          </a:p>
          <a:p>
            <a:pPr marL="0" indent="0" algn="ctr"/>
            <a:endParaRPr lang="en-US" sz="3600" kern="0" dirty="0"/>
          </a:p>
        </p:txBody>
      </p:sp>
      <p:sp>
        <p:nvSpPr>
          <p:cNvPr id="129" name="Textplatzhalter 12">
            <a:extLst>
              <a:ext uri="{FF2B5EF4-FFF2-40B4-BE49-F238E27FC236}">
                <a16:creationId xmlns:a16="http://schemas.microsoft.com/office/drawing/2014/main" id="{53E68318-DCA9-4C55-826C-828EC859B6C8}"/>
              </a:ext>
            </a:extLst>
          </p:cNvPr>
          <p:cNvSpPr txBox="1">
            <a:spLocks/>
          </p:cNvSpPr>
          <p:nvPr/>
        </p:nvSpPr>
        <p:spPr bwMode="auto">
          <a:xfrm>
            <a:off x="15845687" y="28781551"/>
            <a:ext cx="13251600" cy="892794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576000" tIns="378000" rIns="576000" bIns="270000" numCol="1" anchor="t" anchorCtr="0" compatLnSpc="1">
            <a:prstTxWarp prst="textNoShape">
              <a:avLst/>
            </a:prstTxWarp>
          </a:bodyPr>
          <a:lstStyle>
            <a:lvl1pPr marL="342900" indent="-342900" algn="l" defTabSz="4160838" rtl="0" eaLnBrk="0" fontAlgn="base" hangingPunct="0">
              <a:spcBef>
                <a:spcPct val="0"/>
              </a:spcBef>
              <a:spcAft>
                <a:spcPct val="30000"/>
              </a:spcAft>
              <a:defRPr sz="60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88" indent="455613" algn="l" defTabSz="4160838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defRPr sz="3200">
                <a:solidFill>
                  <a:schemeClr val="tx1"/>
                </a:solidFill>
                <a:latin typeface="+mn-lt"/>
              </a:defRPr>
            </a:lvl2pPr>
            <a:lvl3pPr marL="439738" indent="-436563" algn="l" defTabSz="4160838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■"/>
              <a:defRPr sz="3200">
                <a:solidFill>
                  <a:schemeClr val="tx1"/>
                </a:solidFill>
                <a:latin typeface="+mn-lt"/>
              </a:defRPr>
            </a:lvl3pPr>
            <a:lvl4pPr marL="441325" indent="930275" algn="l" defTabSz="4160838" rtl="0" eaLnBrk="0" fontAlgn="base" hangingPunct="0">
              <a:spcBef>
                <a:spcPct val="2000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+mn-lt"/>
              </a:defRPr>
            </a:lvl4pPr>
            <a:lvl5pPr marL="442913" indent="1385888" algn="l" defTabSz="4160838" rtl="0" eaLnBrk="0" fontAlgn="base" hangingPunct="0">
              <a:spcBef>
                <a:spcPct val="2000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+mn-lt"/>
              </a:defRPr>
            </a:lvl5pPr>
            <a:lvl6pPr marL="900113" algn="l" defTabSz="4160838" rtl="0" fontAlgn="base">
              <a:spcBef>
                <a:spcPct val="2000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+mn-lt"/>
              </a:defRPr>
            </a:lvl6pPr>
            <a:lvl7pPr marL="1357313" algn="l" defTabSz="4160838" rtl="0" fontAlgn="base">
              <a:spcBef>
                <a:spcPct val="2000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+mn-lt"/>
              </a:defRPr>
            </a:lvl7pPr>
            <a:lvl8pPr marL="1814513" algn="l" defTabSz="4160838" rtl="0" fontAlgn="base">
              <a:spcBef>
                <a:spcPct val="2000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+mn-lt"/>
              </a:defRPr>
            </a:lvl8pPr>
            <a:lvl9pPr marL="2271713" algn="l" defTabSz="4160838" rtl="0" fontAlgn="base">
              <a:spcBef>
                <a:spcPct val="2000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Aft>
                <a:spcPts val="1200"/>
              </a:spcAft>
            </a:pPr>
            <a:r>
              <a:rPr lang="en-US" kern="0" dirty="0"/>
              <a:t>Current state and outlook</a:t>
            </a:r>
          </a:p>
          <a:p>
            <a:pPr marL="742950" lvl="2" indent="-742950">
              <a:spcBef>
                <a:spcPts val="60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40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</a:p>
          <a:p>
            <a:pPr marL="742950" lvl="2" indent="-742950">
              <a:spcBef>
                <a:spcPts val="60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40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B</a:t>
            </a:r>
          </a:p>
          <a:p>
            <a:pPr marL="742950" lvl="2" indent="-742950">
              <a:spcBef>
                <a:spcPts val="60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40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C</a:t>
            </a:r>
          </a:p>
          <a:p>
            <a:pPr marL="742950" lvl="2" indent="-742950">
              <a:spcBef>
                <a:spcPts val="60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40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…</a:t>
            </a:r>
          </a:p>
          <a:p>
            <a:pPr marL="742950" lvl="2" indent="-742950">
              <a:spcBef>
                <a:spcPts val="60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endParaRPr lang="en-US" sz="4000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7" name="Textplatzhalter 12">
            <a:extLst>
              <a:ext uri="{FF2B5EF4-FFF2-40B4-BE49-F238E27FC236}">
                <a16:creationId xmlns:a16="http://schemas.microsoft.com/office/drawing/2014/main" id="{02D4ED9D-56D4-4D44-B323-33A6DCC5AF36}"/>
              </a:ext>
            </a:extLst>
          </p:cNvPr>
          <p:cNvSpPr txBox="1">
            <a:spLocks/>
          </p:cNvSpPr>
          <p:nvPr/>
        </p:nvSpPr>
        <p:spPr bwMode="auto">
          <a:xfrm>
            <a:off x="1157288" y="28781551"/>
            <a:ext cx="14006004" cy="892794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576000" tIns="378000" rIns="576000" bIns="270000" numCol="1" anchor="t" anchorCtr="0" compatLnSpc="1">
            <a:prstTxWarp prst="textNoShape">
              <a:avLst/>
            </a:prstTxWarp>
          </a:bodyPr>
          <a:lstStyle>
            <a:lvl1pPr marL="342900" indent="-342900" algn="l" defTabSz="4160838" rtl="0" eaLnBrk="0" fontAlgn="base" hangingPunct="0">
              <a:spcBef>
                <a:spcPct val="0"/>
              </a:spcBef>
              <a:spcAft>
                <a:spcPct val="30000"/>
              </a:spcAft>
              <a:defRPr sz="60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160838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+mn-lt"/>
              </a:defRPr>
            </a:lvl2pPr>
            <a:lvl3pPr marL="439738" indent="-436563" algn="l" defTabSz="4160838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■"/>
              <a:defRPr sz="3200">
                <a:solidFill>
                  <a:schemeClr val="tx1"/>
                </a:solidFill>
                <a:latin typeface="+mn-lt"/>
              </a:defRPr>
            </a:lvl3pPr>
            <a:lvl4pPr marL="874713" indent="-434975" algn="l" defTabSz="4160838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■"/>
              <a:defRPr sz="3200">
                <a:solidFill>
                  <a:schemeClr val="tx1"/>
                </a:solidFill>
                <a:latin typeface="+mn-lt"/>
              </a:defRPr>
            </a:lvl4pPr>
            <a:lvl5pPr marL="1309688" indent="-434975" algn="l" defTabSz="4160838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■"/>
              <a:defRPr sz="3200">
                <a:solidFill>
                  <a:schemeClr val="tx1"/>
                </a:solidFill>
                <a:latin typeface="+mn-lt"/>
              </a:defRPr>
            </a:lvl5pPr>
            <a:lvl6pPr marL="900113" algn="l" defTabSz="4160838" rtl="0" fontAlgn="base">
              <a:spcBef>
                <a:spcPct val="2000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+mn-lt"/>
              </a:defRPr>
            </a:lvl6pPr>
            <a:lvl7pPr marL="1357313" algn="l" defTabSz="4160838" rtl="0" fontAlgn="base">
              <a:spcBef>
                <a:spcPct val="2000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+mn-lt"/>
              </a:defRPr>
            </a:lvl7pPr>
            <a:lvl8pPr marL="1814513" algn="l" defTabSz="4160838" rtl="0" fontAlgn="base">
              <a:spcBef>
                <a:spcPct val="2000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+mn-lt"/>
              </a:defRPr>
            </a:lvl8pPr>
            <a:lvl9pPr marL="2271713" algn="l" defTabSz="4160838" rtl="0" fontAlgn="base">
              <a:spcBef>
                <a:spcPct val="2000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/>
            <a:endParaRPr lang="en-US" sz="3200" kern="0" dirty="0"/>
          </a:p>
          <a:p>
            <a:pPr marL="0" indent="0"/>
            <a:endParaRPr lang="en-US" sz="3200" kern="0" dirty="0"/>
          </a:p>
          <a:p>
            <a:pPr marL="0" indent="0"/>
            <a:endParaRPr lang="en-US" sz="3200" kern="0" dirty="0"/>
          </a:p>
          <a:p>
            <a:pPr marL="0" indent="0"/>
            <a:endParaRPr lang="en-US" sz="3200" kern="0" dirty="0"/>
          </a:p>
          <a:p>
            <a:pPr marL="0" indent="0"/>
            <a:endParaRPr lang="en-US" sz="3200" kern="0" dirty="0"/>
          </a:p>
          <a:p>
            <a:pPr marL="0" indent="0"/>
            <a:endParaRPr lang="en-US" sz="3200" kern="0" dirty="0"/>
          </a:p>
          <a:p>
            <a:pPr marL="0" indent="0"/>
            <a:endParaRPr lang="en-US" sz="3200" kern="0" dirty="0"/>
          </a:p>
          <a:p>
            <a:pPr marL="0" indent="0" algn="ctr"/>
            <a:endParaRPr lang="en-US" sz="3200" kern="0" dirty="0"/>
          </a:p>
          <a:p>
            <a:pPr marL="0" indent="0" algn="ctr"/>
            <a:endParaRPr lang="en-US" sz="3200" kern="0" dirty="0"/>
          </a:p>
          <a:p>
            <a:pPr marL="0" indent="0" algn="ctr"/>
            <a:endParaRPr lang="en-US" sz="3200" kern="0" dirty="0"/>
          </a:p>
          <a:p>
            <a:pPr marL="0" indent="0" algn="ctr"/>
            <a:endParaRPr lang="en-US" sz="3200" kern="0" dirty="0"/>
          </a:p>
          <a:p>
            <a:pPr marL="0" indent="0" algn="ctr"/>
            <a:endParaRPr lang="en-US" sz="3200" kern="0" dirty="0"/>
          </a:p>
          <a:p>
            <a:pPr marL="0" indent="0"/>
            <a:endParaRPr lang="en-US" sz="4200" kern="0" dirty="0"/>
          </a:p>
        </p:txBody>
      </p:sp>
      <p:sp>
        <p:nvSpPr>
          <p:cNvPr id="202" name="Textfeld 201">
            <a:extLst>
              <a:ext uri="{FF2B5EF4-FFF2-40B4-BE49-F238E27FC236}">
                <a16:creationId xmlns:a16="http://schemas.microsoft.com/office/drawing/2014/main" id="{C4E77B22-F253-43C9-BDC9-5F14CE0F44D8}"/>
              </a:ext>
            </a:extLst>
          </p:cNvPr>
          <p:cNvSpPr txBox="1"/>
          <p:nvPr/>
        </p:nvSpPr>
        <p:spPr>
          <a:xfrm>
            <a:off x="1157288" y="36526362"/>
            <a:ext cx="14006004" cy="118312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indent="0" algn="ctr"/>
            <a:r>
              <a:rPr lang="en-US" sz="3200" b="1" kern="0" dirty="0" smtClean="0"/>
              <a:t>Description of figure</a:t>
            </a:r>
            <a:endParaRPr lang="en-US" sz="3200" b="1" kern="0" dirty="0"/>
          </a:p>
        </p:txBody>
      </p:sp>
      <p:sp>
        <p:nvSpPr>
          <p:cNvPr id="2055" name="Text Box 5"/>
          <p:cNvSpPr txBox="1">
            <a:spLocks noChangeArrowheads="1"/>
          </p:cNvSpPr>
          <p:nvPr/>
        </p:nvSpPr>
        <p:spPr bwMode="auto">
          <a:xfrm>
            <a:off x="1157288" y="467890"/>
            <a:ext cx="27940000" cy="6606382"/>
          </a:xfrm>
          <a:prstGeom prst="rect">
            <a:avLst/>
          </a:prstGeom>
          <a:solidFill>
            <a:srgbClr val="D91735"/>
          </a:solidFill>
          <a:ln w="9525">
            <a:solidFill>
              <a:srgbClr val="BE1E3C"/>
            </a:solidFill>
            <a:miter lim="800000"/>
            <a:headEnd/>
            <a:tailEnd/>
          </a:ln>
        </p:spPr>
        <p:txBody>
          <a:bodyPr vert="horz" wrap="square" lIns="576000" tIns="306000" rIns="576000" bIns="90000" numCol="1" anchor="t" anchorCtr="0" compatLnSpc="1">
            <a:prstTxWarp prst="textNoShape">
              <a:avLst/>
            </a:prstTxWarp>
          </a:bodyPr>
          <a:lstStyle/>
          <a:p>
            <a:pPr marL="342900" indent="-342900" defTabSz="4160838" eaLnBrk="0" hangingPunct="0">
              <a:lnSpc>
                <a:spcPct val="92000"/>
              </a:lnSpc>
              <a:spcAft>
                <a:spcPts val="960"/>
              </a:spcAft>
            </a:pPr>
            <a:endParaRPr lang="de-DE" sz="36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80" name="Textfeld 79">
            <a:extLst>
              <a:ext uri="{FF2B5EF4-FFF2-40B4-BE49-F238E27FC236}">
                <a16:creationId xmlns:a16="http://schemas.microsoft.com/office/drawing/2014/main" id="{19D92760-0905-41D9-BBF6-662FBA247A8B}"/>
              </a:ext>
            </a:extLst>
          </p:cNvPr>
          <p:cNvSpPr txBox="1"/>
          <p:nvPr/>
        </p:nvSpPr>
        <p:spPr>
          <a:xfrm>
            <a:off x="1157288" y="4465074"/>
            <a:ext cx="27940000" cy="1621406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342900" defTabSz="4160838" eaLnBrk="0" hangingPunct="0">
              <a:lnSpc>
                <a:spcPct val="92000"/>
              </a:lnSpc>
              <a:spcAft>
                <a:spcPts val="1800"/>
              </a:spcAft>
            </a:pPr>
            <a:r>
              <a:rPr lang="de-DE" sz="3600" b="1" dirty="0" smtClean="0">
                <a:solidFill>
                  <a:schemeClr val="bg1"/>
                </a:solidFill>
              </a:rPr>
              <a:t>Affiliation</a:t>
            </a:r>
            <a:endParaRPr lang="de-DE" sz="3600" b="1" dirty="0">
              <a:solidFill>
                <a:schemeClr val="bg1"/>
              </a:solidFill>
            </a:endParaRPr>
          </a:p>
        </p:txBody>
      </p:sp>
      <p:sp>
        <p:nvSpPr>
          <p:cNvPr id="85" name="Textfeld 84">
            <a:extLst>
              <a:ext uri="{FF2B5EF4-FFF2-40B4-BE49-F238E27FC236}">
                <a16:creationId xmlns:a16="http://schemas.microsoft.com/office/drawing/2014/main" id="{C4E77B22-F253-43C9-BDC9-5F14CE0F44D8}"/>
              </a:ext>
            </a:extLst>
          </p:cNvPr>
          <p:cNvSpPr txBox="1"/>
          <p:nvPr/>
        </p:nvSpPr>
        <p:spPr>
          <a:xfrm>
            <a:off x="15091283" y="27005453"/>
            <a:ext cx="14006004" cy="118312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indent="0" algn="ctr"/>
            <a:r>
              <a:rPr lang="en-US" sz="3200" b="1" kern="0" dirty="0" smtClean="0"/>
              <a:t>Description of figure</a:t>
            </a:r>
            <a:endParaRPr lang="en-US" sz="3200" b="1" kern="0" dirty="0"/>
          </a:p>
        </p:txBody>
      </p:sp>
      <p:sp>
        <p:nvSpPr>
          <p:cNvPr id="86" name="Textfeld 85">
            <a:extLst>
              <a:ext uri="{FF2B5EF4-FFF2-40B4-BE49-F238E27FC236}">
                <a16:creationId xmlns:a16="http://schemas.microsoft.com/office/drawing/2014/main" id="{C4E77B22-F253-43C9-BDC9-5F14CE0F44D8}"/>
              </a:ext>
            </a:extLst>
          </p:cNvPr>
          <p:cNvSpPr txBox="1"/>
          <p:nvPr/>
        </p:nvSpPr>
        <p:spPr>
          <a:xfrm>
            <a:off x="16963489" y="16317420"/>
            <a:ext cx="12133799" cy="118312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indent="0" algn="ctr"/>
            <a:r>
              <a:rPr lang="en-US" sz="3200" b="1" kern="0" dirty="0" smtClean="0"/>
              <a:t>Description of figure</a:t>
            </a:r>
            <a:endParaRPr lang="en-US" sz="3200" b="1" kern="0" dirty="0"/>
          </a:p>
        </p:txBody>
      </p:sp>
      <p:sp>
        <p:nvSpPr>
          <p:cNvPr id="8" name="Rechteck 7"/>
          <p:cNvSpPr/>
          <p:nvPr/>
        </p:nvSpPr>
        <p:spPr bwMode="auto">
          <a:xfrm>
            <a:off x="18421748" y="9429811"/>
            <a:ext cx="9217280" cy="6264870"/>
          </a:xfrm>
          <a:prstGeom prst="rect">
            <a:avLst/>
          </a:prstGeom>
          <a:solidFill>
            <a:srgbClr val="FCB017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416083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>
                <a:latin typeface="Arial" charset="0"/>
              </a:rPr>
              <a:t>f</a:t>
            </a:r>
            <a:r>
              <a:rPr lang="en-US" dirty="0" smtClean="0">
                <a:latin typeface="Arial" charset="0"/>
              </a:rPr>
              <a:t>igure to illustrate your motivation and goal</a:t>
            </a:r>
            <a:endParaRPr kumimoji="0" lang="de-DE" sz="8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8" name="Rechteck 87"/>
          <p:cNvSpPr/>
          <p:nvPr/>
        </p:nvSpPr>
        <p:spPr bwMode="auto">
          <a:xfrm>
            <a:off x="17485646" y="20011786"/>
            <a:ext cx="9217280" cy="6264870"/>
          </a:xfrm>
          <a:prstGeom prst="rect">
            <a:avLst/>
          </a:prstGeom>
          <a:solidFill>
            <a:srgbClr val="FCB017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416083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>
                <a:latin typeface="Arial" charset="0"/>
              </a:rPr>
              <a:t>f</a:t>
            </a:r>
            <a:r>
              <a:rPr lang="en-US" dirty="0" smtClean="0">
                <a:latin typeface="Arial" charset="0"/>
              </a:rPr>
              <a:t>igure to illustrate your approach</a:t>
            </a:r>
            <a:endParaRPr kumimoji="0" lang="de-DE" sz="8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9" name="Rechteck 88"/>
          <p:cNvSpPr/>
          <p:nvPr/>
        </p:nvSpPr>
        <p:spPr bwMode="auto">
          <a:xfrm>
            <a:off x="3551650" y="30113086"/>
            <a:ext cx="9217280" cy="6264870"/>
          </a:xfrm>
          <a:prstGeom prst="rect">
            <a:avLst/>
          </a:prstGeom>
          <a:solidFill>
            <a:srgbClr val="FCB017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416083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>
                <a:latin typeface="Arial" charset="0"/>
              </a:rPr>
              <a:t>f</a:t>
            </a:r>
            <a:r>
              <a:rPr lang="en-US" dirty="0" smtClean="0">
                <a:latin typeface="Arial" charset="0"/>
              </a:rPr>
              <a:t>igure to illustrate current state of your work and outlook</a:t>
            </a:r>
            <a:endParaRPr kumimoji="0" lang="de-DE" sz="8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0" name="Textfeld 89">
            <a:extLst>
              <a:ext uri="{FF2B5EF4-FFF2-40B4-BE49-F238E27FC236}">
                <a16:creationId xmlns:a16="http://schemas.microsoft.com/office/drawing/2014/main" id="{19D92760-0905-41D9-BBF6-662FBA247A8B}"/>
              </a:ext>
            </a:extLst>
          </p:cNvPr>
          <p:cNvSpPr txBox="1"/>
          <p:nvPr/>
        </p:nvSpPr>
        <p:spPr>
          <a:xfrm>
            <a:off x="1157288" y="6086480"/>
            <a:ext cx="15627704" cy="60202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defPPr>
              <a:defRPr lang="de-DE"/>
            </a:defPPr>
            <a:lvl1pPr marL="342900" defTabSz="4160838" eaLnBrk="0" hangingPunct="0">
              <a:lnSpc>
                <a:spcPct val="92000"/>
              </a:lnSpc>
              <a:spcAft>
                <a:spcPts val="1800"/>
              </a:spcAft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Firstname </a:t>
            </a:r>
            <a:r>
              <a:rPr lang="de-DE" dirty="0" err="1"/>
              <a:t>Lastname</a:t>
            </a:r>
            <a:r>
              <a:rPr lang="de-DE" dirty="0"/>
              <a:t> | email: </a:t>
            </a:r>
            <a:r>
              <a:rPr lang="de-DE" dirty="0" err="1"/>
              <a:t>your</a:t>
            </a:r>
            <a:r>
              <a:rPr lang="de-DE" dirty="0"/>
              <a:t> email </a:t>
            </a:r>
            <a:r>
              <a:rPr lang="de-DE" dirty="0" err="1"/>
              <a:t>address</a:t>
            </a:r>
            <a:r>
              <a:rPr lang="de-DE" dirty="0"/>
              <a:t> </a:t>
            </a:r>
          </a:p>
        </p:txBody>
      </p:sp>
      <p:sp>
        <p:nvSpPr>
          <p:cNvPr id="12" name="Textfeld 11"/>
          <p:cNvSpPr txBox="1"/>
          <p:nvPr/>
        </p:nvSpPr>
        <p:spPr>
          <a:xfrm>
            <a:off x="1157288" y="736043"/>
            <a:ext cx="27939999" cy="196905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342900" lvl="0" defTabSz="4160838" eaLnBrk="0" hangingPunct="0">
              <a:lnSpc>
                <a:spcPct val="92000"/>
              </a:lnSpc>
              <a:spcAft>
                <a:spcPts val="1800"/>
              </a:spcAft>
            </a:pPr>
            <a:r>
              <a:rPr lang="de-DE" sz="5400" b="1" dirty="0" smtClean="0">
                <a:solidFill>
                  <a:schemeClr val="bg1"/>
                </a:solidFill>
              </a:rPr>
              <a:t>3</a:t>
            </a:r>
            <a:r>
              <a:rPr lang="de-DE" sz="5400" b="1" baseline="30000" dirty="0" smtClean="0">
                <a:solidFill>
                  <a:schemeClr val="bg1"/>
                </a:solidFill>
              </a:rPr>
              <a:t>rd</a:t>
            </a:r>
            <a:r>
              <a:rPr lang="de-DE" sz="5400" b="1" dirty="0" smtClean="0">
                <a:solidFill>
                  <a:schemeClr val="bg1"/>
                </a:solidFill>
              </a:rPr>
              <a:t> </a:t>
            </a:r>
            <a:r>
              <a:rPr lang="de-DE" sz="5400" b="1" dirty="0" err="1" smtClean="0">
                <a:solidFill>
                  <a:schemeClr val="bg1"/>
                </a:solidFill>
              </a:rPr>
              <a:t>Indo</a:t>
            </a:r>
            <a:r>
              <a:rPr lang="de-DE" sz="5400" b="1" dirty="0" smtClean="0">
                <a:solidFill>
                  <a:schemeClr val="bg1"/>
                </a:solidFill>
              </a:rPr>
              <a:t>-German Conference on </a:t>
            </a:r>
            <a:r>
              <a:rPr lang="de-DE" sz="5400" b="1" dirty="0" err="1" smtClean="0">
                <a:solidFill>
                  <a:schemeClr val="bg1"/>
                </a:solidFill>
              </a:rPr>
              <a:t>Sustainability</a:t>
            </a:r>
            <a:r>
              <a:rPr lang="de-DE" sz="5400" b="1" dirty="0" smtClean="0">
                <a:solidFill>
                  <a:schemeClr val="bg1"/>
                </a:solidFill>
              </a:rPr>
              <a:t> in Engineering: </a:t>
            </a:r>
            <a:r>
              <a:rPr lang="de-DE" sz="5400" b="1" dirty="0" err="1" smtClean="0">
                <a:solidFill>
                  <a:schemeClr val="bg1"/>
                </a:solidFill>
              </a:rPr>
              <a:t>Enhancing</a:t>
            </a:r>
            <a:r>
              <a:rPr lang="de-DE" sz="5400" b="1" dirty="0" smtClean="0">
                <a:solidFill>
                  <a:schemeClr val="bg1"/>
                </a:solidFill>
              </a:rPr>
              <a:t> Future </a:t>
            </a:r>
            <a:r>
              <a:rPr lang="de-DE" sz="5400" b="1" dirty="0" err="1" smtClean="0">
                <a:solidFill>
                  <a:schemeClr val="bg1"/>
                </a:solidFill>
              </a:rPr>
              <a:t>and</a:t>
            </a:r>
            <a:r>
              <a:rPr lang="de-DE" sz="5400" b="1" dirty="0" smtClean="0">
                <a:solidFill>
                  <a:schemeClr val="bg1"/>
                </a:solidFill>
              </a:rPr>
              <a:t> Skills </a:t>
            </a:r>
            <a:r>
              <a:rPr lang="de-DE" sz="5400" b="1" dirty="0" err="1" smtClean="0">
                <a:solidFill>
                  <a:schemeClr val="bg1"/>
                </a:solidFill>
              </a:rPr>
              <a:t>and</a:t>
            </a:r>
            <a:r>
              <a:rPr lang="de-DE" sz="5400" b="1" dirty="0" smtClean="0">
                <a:solidFill>
                  <a:schemeClr val="bg1"/>
                </a:solidFill>
              </a:rPr>
              <a:t> </a:t>
            </a:r>
            <a:r>
              <a:rPr lang="de-DE" sz="5400" b="1" dirty="0" smtClean="0">
                <a:solidFill>
                  <a:schemeClr val="bg1"/>
                </a:solidFill>
              </a:rPr>
              <a:t>Entrepreneurship, BITS </a:t>
            </a:r>
            <a:r>
              <a:rPr lang="de-DE" sz="5400" b="1" dirty="0" err="1" smtClean="0">
                <a:solidFill>
                  <a:schemeClr val="bg1"/>
                </a:solidFill>
              </a:rPr>
              <a:t>Pilani</a:t>
            </a:r>
            <a:r>
              <a:rPr lang="de-DE" sz="5400" b="1" dirty="0" smtClean="0">
                <a:solidFill>
                  <a:schemeClr val="bg1"/>
                </a:solidFill>
              </a:rPr>
              <a:t>, 16 &amp; 17 September 2019</a:t>
            </a:r>
            <a:endParaRPr lang="de-DE" sz="5400" b="1" dirty="0">
              <a:solidFill>
                <a:schemeClr val="bg1"/>
              </a:solidFill>
            </a:endParaRPr>
          </a:p>
        </p:txBody>
      </p:sp>
      <p:sp>
        <p:nvSpPr>
          <p:cNvPr id="14" name="Textfeld 13"/>
          <p:cNvSpPr txBox="1"/>
          <p:nvPr/>
        </p:nvSpPr>
        <p:spPr>
          <a:xfrm>
            <a:off x="1157288" y="2971800"/>
            <a:ext cx="27939999" cy="12573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342900" defTabSz="4160838" eaLnBrk="0" hangingPunct="0">
              <a:lnSpc>
                <a:spcPct val="92000"/>
              </a:lnSpc>
              <a:spcAft>
                <a:spcPts val="1800"/>
              </a:spcAft>
            </a:pPr>
            <a:r>
              <a:rPr lang="de-DE" sz="6000" b="1" dirty="0" smtClean="0">
                <a:solidFill>
                  <a:schemeClr val="bg1"/>
                </a:solidFill>
              </a:rPr>
              <a:t>Title </a:t>
            </a:r>
            <a:r>
              <a:rPr lang="de-DE" sz="6000" b="1" dirty="0" err="1" smtClean="0">
                <a:solidFill>
                  <a:schemeClr val="bg1"/>
                </a:solidFill>
              </a:rPr>
              <a:t>of</a:t>
            </a:r>
            <a:r>
              <a:rPr lang="de-DE" sz="6000" b="1" dirty="0" smtClean="0">
                <a:solidFill>
                  <a:schemeClr val="bg1"/>
                </a:solidFill>
              </a:rPr>
              <a:t> Paper</a:t>
            </a:r>
            <a:endParaRPr lang="de-DE" sz="6000" b="1" dirty="0">
              <a:solidFill>
                <a:schemeClr val="bg1"/>
              </a:solidFill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31198217" y="6871337"/>
            <a:ext cx="10513460" cy="9233297"/>
          </a:xfrm>
          <a:prstGeom prst="rect">
            <a:avLst/>
          </a:prstGeom>
          <a:solidFill>
            <a:srgbClr val="FCB017"/>
          </a:solidFill>
        </p:spPr>
        <p:txBody>
          <a:bodyPr wrap="square" rtlCol="0">
            <a:spAutoFit/>
          </a:bodyPr>
          <a:lstStyle/>
          <a:p>
            <a:r>
              <a:rPr lang="en-US" sz="6600" dirty="0" smtClean="0"/>
              <a:t>If any other arrangement/title of the boxes is more suitable to your work, please feel free to change it.</a:t>
            </a:r>
            <a:endParaRPr lang="de-DE" sz="6600" dirty="0"/>
          </a:p>
          <a:p>
            <a:r>
              <a:rPr lang="en-US" sz="6600" dirty="0" smtClean="0"/>
              <a:t>If so, please take care of the aesthetics (i.e. spaces between the boxes, font size, font family, colors) </a:t>
            </a:r>
          </a:p>
        </p:txBody>
      </p:sp>
      <p:pic>
        <p:nvPicPr>
          <p:cNvPr id="22" name="Picture 4" descr="C:\Users\dell\Desktop\Logo_pilaniCampus_verticalFromat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7630407" y="39048489"/>
            <a:ext cx="2426806" cy="3235741"/>
          </a:xfrm>
          <a:prstGeom prst="rect">
            <a:avLst/>
          </a:prstGeom>
          <a:noFill/>
        </p:spPr>
      </p:pic>
      <p:pic>
        <p:nvPicPr>
          <p:cNvPr id="2" name="Grafik 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6802" b="91938"/>
          <a:stretch/>
        </p:blipFill>
        <p:spPr>
          <a:xfrm>
            <a:off x="202805" y="39920359"/>
            <a:ext cx="9472138" cy="2496476"/>
          </a:xfrm>
          <a:prstGeom prst="rect">
            <a:avLst/>
          </a:prstGeom>
        </p:spPr>
      </p:pic>
      <p:sp>
        <p:nvSpPr>
          <p:cNvPr id="3" name="Textfeld 2"/>
          <p:cNvSpPr txBox="1"/>
          <p:nvPr/>
        </p:nvSpPr>
        <p:spPr>
          <a:xfrm>
            <a:off x="21391081" y="38939921"/>
            <a:ext cx="806259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4000" dirty="0" smtClean="0"/>
              <a:t>A </a:t>
            </a:r>
            <a:r>
              <a:rPr lang="de-DE" sz="4000" dirty="0" err="1" smtClean="0"/>
              <a:t>collaboration</a:t>
            </a:r>
            <a:r>
              <a:rPr lang="de-DE" sz="4000" dirty="0" smtClean="0"/>
              <a:t> </a:t>
            </a:r>
            <a:r>
              <a:rPr lang="de-DE" sz="4000" dirty="0" err="1" smtClean="0"/>
              <a:t>between</a:t>
            </a:r>
            <a:endParaRPr lang="en-US" sz="4000" dirty="0"/>
          </a:p>
        </p:txBody>
      </p:sp>
      <p:grpSp>
        <p:nvGrpSpPr>
          <p:cNvPr id="19" name="Group 4"/>
          <p:cNvGrpSpPr>
            <a:grpSpLocks noChangeAspect="1"/>
          </p:cNvGrpSpPr>
          <p:nvPr/>
        </p:nvGrpSpPr>
        <p:grpSpPr bwMode="auto">
          <a:xfrm>
            <a:off x="21454731" y="39875771"/>
            <a:ext cx="5545138" cy="2056680"/>
            <a:chOff x="-8108" y="9493"/>
            <a:chExt cx="6247" cy="2317"/>
          </a:xfrm>
        </p:grpSpPr>
        <p:sp>
          <p:nvSpPr>
            <p:cNvPr id="24" name="Freeform 5"/>
            <p:cNvSpPr>
              <a:spLocks noEditPoints="1"/>
            </p:cNvSpPr>
            <p:nvPr/>
          </p:nvSpPr>
          <p:spPr bwMode="auto">
            <a:xfrm>
              <a:off x="-8108" y="9493"/>
              <a:ext cx="6247" cy="2317"/>
            </a:xfrm>
            <a:custGeom>
              <a:avLst/>
              <a:gdLst>
                <a:gd name="T0" fmla="*/ 0 w 3307"/>
                <a:gd name="T1" fmla="*/ 0 h 1228"/>
                <a:gd name="T2" fmla="*/ 3307 w 3307"/>
                <a:gd name="T3" fmla="*/ 0 h 1228"/>
                <a:gd name="T4" fmla="*/ 3307 w 3307"/>
                <a:gd name="T5" fmla="*/ 1228 h 1228"/>
                <a:gd name="T6" fmla="*/ 0 w 3307"/>
                <a:gd name="T7" fmla="*/ 1228 h 1228"/>
                <a:gd name="T8" fmla="*/ 0 w 3307"/>
                <a:gd name="T9" fmla="*/ 0 h 1228"/>
                <a:gd name="T10" fmla="*/ 0 w 3307"/>
                <a:gd name="T11" fmla="*/ 0 h 1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07" h="1228">
                  <a:moveTo>
                    <a:pt x="0" y="0"/>
                  </a:moveTo>
                  <a:lnTo>
                    <a:pt x="3307" y="0"/>
                  </a:lnTo>
                  <a:lnTo>
                    <a:pt x="3307" y="1228"/>
                  </a:lnTo>
                  <a:lnTo>
                    <a:pt x="0" y="1228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solidFill>
              <a:srgbClr val="D917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6"/>
            <p:cNvSpPr>
              <a:spLocks/>
            </p:cNvSpPr>
            <p:nvPr/>
          </p:nvSpPr>
          <p:spPr bwMode="auto">
            <a:xfrm>
              <a:off x="-6920" y="10408"/>
              <a:ext cx="170" cy="217"/>
            </a:xfrm>
            <a:custGeom>
              <a:avLst/>
              <a:gdLst>
                <a:gd name="T0" fmla="*/ 55 w 90"/>
                <a:gd name="T1" fmla="*/ 70 h 115"/>
                <a:gd name="T2" fmla="*/ 76 w 90"/>
                <a:gd name="T3" fmla="*/ 57 h 115"/>
                <a:gd name="T4" fmla="*/ 90 w 90"/>
                <a:gd name="T5" fmla="*/ 36 h 115"/>
                <a:gd name="T6" fmla="*/ 82 w 90"/>
                <a:gd name="T7" fmla="*/ 4 h 115"/>
                <a:gd name="T8" fmla="*/ 75 w 90"/>
                <a:gd name="T9" fmla="*/ 2 h 115"/>
                <a:gd name="T10" fmla="*/ 51 w 90"/>
                <a:gd name="T11" fmla="*/ 11 h 115"/>
                <a:gd name="T12" fmla="*/ 52 w 90"/>
                <a:gd name="T13" fmla="*/ 31 h 115"/>
                <a:gd name="T14" fmla="*/ 63 w 90"/>
                <a:gd name="T15" fmla="*/ 39 h 115"/>
                <a:gd name="T16" fmla="*/ 54 w 90"/>
                <a:gd name="T17" fmla="*/ 51 h 115"/>
                <a:gd name="T18" fmla="*/ 37 w 90"/>
                <a:gd name="T19" fmla="*/ 62 h 115"/>
                <a:gd name="T20" fmla="*/ 12 w 90"/>
                <a:gd name="T21" fmla="*/ 59 h 115"/>
                <a:gd name="T22" fmla="*/ 6 w 90"/>
                <a:gd name="T23" fmla="*/ 64 h 115"/>
                <a:gd name="T24" fmla="*/ 2 w 90"/>
                <a:gd name="T25" fmla="*/ 65 h 115"/>
                <a:gd name="T26" fmla="*/ 0 w 90"/>
                <a:gd name="T27" fmla="*/ 68 h 115"/>
                <a:gd name="T28" fmla="*/ 3 w 90"/>
                <a:gd name="T29" fmla="*/ 70 h 115"/>
                <a:gd name="T30" fmla="*/ 6 w 90"/>
                <a:gd name="T31" fmla="*/ 70 h 115"/>
                <a:gd name="T32" fmla="*/ 11 w 90"/>
                <a:gd name="T33" fmla="*/ 75 h 115"/>
                <a:gd name="T34" fmla="*/ 27 w 90"/>
                <a:gd name="T35" fmla="*/ 74 h 115"/>
                <a:gd name="T36" fmla="*/ 32 w 90"/>
                <a:gd name="T37" fmla="*/ 76 h 115"/>
                <a:gd name="T38" fmla="*/ 29 w 90"/>
                <a:gd name="T39" fmla="*/ 80 h 115"/>
                <a:gd name="T40" fmla="*/ 17 w 90"/>
                <a:gd name="T41" fmla="*/ 88 h 115"/>
                <a:gd name="T42" fmla="*/ 15 w 90"/>
                <a:gd name="T43" fmla="*/ 98 h 115"/>
                <a:gd name="T44" fmla="*/ 13 w 90"/>
                <a:gd name="T45" fmla="*/ 101 h 115"/>
                <a:gd name="T46" fmla="*/ 14 w 90"/>
                <a:gd name="T47" fmla="*/ 106 h 115"/>
                <a:gd name="T48" fmla="*/ 17 w 90"/>
                <a:gd name="T49" fmla="*/ 105 h 115"/>
                <a:gd name="T50" fmla="*/ 20 w 90"/>
                <a:gd name="T51" fmla="*/ 103 h 115"/>
                <a:gd name="T52" fmla="*/ 30 w 90"/>
                <a:gd name="T53" fmla="*/ 99 h 115"/>
                <a:gd name="T54" fmla="*/ 35 w 90"/>
                <a:gd name="T55" fmla="*/ 87 h 115"/>
                <a:gd name="T56" fmla="*/ 39 w 90"/>
                <a:gd name="T57" fmla="*/ 84 h 115"/>
                <a:gd name="T58" fmla="*/ 40 w 90"/>
                <a:gd name="T59" fmla="*/ 89 h 115"/>
                <a:gd name="T60" fmla="*/ 40 w 90"/>
                <a:gd name="T61" fmla="*/ 101 h 115"/>
                <a:gd name="T62" fmla="*/ 47 w 90"/>
                <a:gd name="T63" fmla="*/ 110 h 115"/>
                <a:gd name="T64" fmla="*/ 49 w 90"/>
                <a:gd name="T65" fmla="*/ 113 h 115"/>
                <a:gd name="T66" fmla="*/ 52 w 90"/>
                <a:gd name="T67" fmla="*/ 115 h 115"/>
                <a:gd name="T68" fmla="*/ 53 w 90"/>
                <a:gd name="T69" fmla="*/ 111 h 115"/>
                <a:gd name="T70" fmla="*/ 53 w 90"/>
                <a:gd name="T71" fmla="*/ 108 h 115"/>
                <a:gd name="T72" fmla="*/ 55 w 90"/>
                <a:gd name="T73" fmla="*/ 101 h 115"/>
                <a:gd name="T74" fmla="*/ 49 w 90"/>
                <a:gd name="T75" fmla="*/ 87 h 115"/>
                <a:gd name="T76" fmla="*/ 49 w 90"/>
                <a:gd name="T77" fmla="*/ 83 h 115"/>
                <a:gd name="T78" fmla="*/ 54 w 90"/>
                <a:gd name="T79" fmla="*/ 85 h 115"/>
                <a:gd name="T80" fmla="*/ 63 w 90"/>
                <a:gd name="T81" fmla="*/ 93 h 115"/>
                <a:gd name="T82" fmla="*/ 71 w 90"/>
                <a:gd name="T83" fmla="*/ 93 h 115"/>
                <a:gd name="T84" fmla="*/ 74 w 90"/>
                <a:gd name="T85" fmla="*/ 94 h 115"/>
                <a:gd name="T86" fmla="*/ 78 w 90"/>
                <a:gd name="T87" fmla="*/ 95 h 115"/>
                <a:gd name="T88" fmla="*/ 76 w 90"/>
                <a:gd name="T89" fmla="*/ 91 h 115"/>
                <a:gd name="T90" fmla="*/ 74 w 90"/>
                <a:gd name="T91" fmla="*/ 88 h 115"/>
                <a:gd name="T92" fmla="*/ 73 w 90"/>
                <a:gd name="T93" fmla="*/ 81 h 115"/>
                <a:gd name="T94" fmla="*/ 55 w 90"/>
                <a:gd name="T95" fmla="*/ 7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90" h="115">
                  <a:moveTo>
                    <a:pt x="55" y="70"/>
                  </a:moveTo>
                  <a:cubicBezTo>
                    <a:pt x="62" y="66"/>
                    <a:pt x="70" y="61"/>
                    <a:pt x="76" y="57"/>
                  </a:cubicBezTo>
                  <a:cubicBezTo>
                    <a:pt x="82" y="52"/>
                    <a:pt x="90" y="40"/>
                    <a:pt x="90" y="36"/>
                  </a:cubicBezTo>
                  <a:cubicBezTo>
                    <a:pt x="81" y="25"/>
                    <a:pt x="82" y="15"/>
                    <a:pt x="82" y="4"/>
                  </a:cubicBezTo>
                  <a:cubicBezTo>
                    <a:pt x="82" y="2"/>
                    <a:pt x="79" y="0"/>
                    <a:pt x="75" y="2"/>
                  </a:cubicBezTo>
                  <a:cubicBezTo>
                    <a:pt x="64" y="7"/>
                    <a:pt x="51" y="11"/>
                    <a:pt x="51" y="11"/>
                  </a:cubicBezTo>
                  <a:cubicBezTo>
                    <a:pt x="51" y="11"/>
                    <a:pt x="48" y="27"/>
                    <a:pt x="52" y="31"/>
                  </a:cubicBezTo>
                  <a:cubicBezTo>
                    <a:pt x="56" y="34"/>
                    <a:pt x="64" y="33"/>
                    <a:pt x="63" y="39"/>
                  </a:cubicBezTo>
                  <a:cubicBezTo>
                    <a:pt x="63" y="42"/>
                    <a:pt x="57" y="49"/>
                    <a:pt x="54" y="51"/>
                  </a:cubicBezTo>
                  <a:cubicBezTo>
                    <a:pt x="48" y="56"/>
                    <a:pt x="41" y="60"/>
                    <a:pt x="37" y="62"/>
                  </a:cubicBezTo>
                  <a:cubicBezTo>
                    <a:pt x="37" y="62"/>
                    <a:pt x="27" y="58"/>
                    <a:pt x="12" y="59"/>
                  </a:cubicBezTo>
                  <a:cubicBezTo>
                    <a:pt x="6" y="60"/>
                    <a:pt x="6" y="64"/>
                    <a:pt x="6" y="64"/>
                  </a:cubicBezTo>
                  <a:cubicBezTo>
                    <a:pt x="6" y="64"/>
                    <a:pt x="4" y="65"/>
                    <a:pt x="2" y="65"/>
                  </a:cubicBezTo>
                  <a:cubicBezTo>
                    <a:pt x="1" y="66"/>
                    <a:pt x="0" y="68"/>
                    <a:pt x="0" y="68"/>
                  </a:cubicBezTo>
                  <a:cubicBezTo>
                    <a:pt x="0" y="68"/>
                    <a:pt x="1" y="69"/>
                    <a:pt x="3" y="70"/>
                  </a:cubicBezTo>
                  <a:cubicBezTo>
                    <a:pt x="4" y="70"/>
                    <a:pt x="6" y="70"/>
                    <a:pt x="6" y="70"/>
                  </a:cubicBezTo>
                  <a:cubicBezTo>
                    <a:pt x="7" y="72"/>
                    <a:pt x="9" y="75"/>
                    <a:pt x="11" y="75"/>
                  </a:cubicBezTo>
                  <a:cubicBezTo>
                    <a:pt x="19" y="76"/>
                    <a:pt x="23" y="75"/>
                    <a:pt x="27" y="74"/>
                  </a:cubicBezTo>
                  <a:cubicBezTo>
                    <a:pt x="30" y="74"/>
                    <a:pt x="31" y="74"/>
                    <a:pt x="32" y="76"/>
                  </a:cubicBezTo>
                  <a:cubicBezTo>
                    <a:pt x="32" y="78"/>
                    <a:pt x="31" y="79"/>
                    <a:pt x="29" y="80"/>
                  </a:cubicBezTo>
                  <a:cubicBezTo>
                    <a:pt x="24" y="83"/>
                    <a:pt x="20" y="86"/>
                    <a:pt x="17" y="88"/>
                  </a:cubicBezTo>
                  <a:cubicBezTo>
                    <a:pt x="15" y="91"/>
                    <a:pt x="14" y="95"/>
                    <a:pt x="15" y="98"/>
                  </a:cubicBezTo>
                  <a:cubicBezTo>
                    <a:pt x="15" y="99"/>
                    <a:pt x="14" y="100"/>
                    <a:pt x="13" y="101"/>
                  </a:cubicBezTo>
                  <a:cubicBezTo>
                    <a:pt x="13" y="103"/>
                    <a:pt x="13" y="104"/>
                    <a:pt x="14" y="106"/>
                  </a:cubicBezTo>
                  <a:cubicBezTo>
                    <a:pt x="15" y="106"/>
                    <a:pt x="16" y="106"/>
                    <a:pt x="17" y="105"/>
                  </a:cubicBezTo>
                  <a:cubicBezTo>
                    <a:pt x="18" y="105"/>
                    <a:pt x="19" y="104"/>
                    <a:pt x="20" y="103"/>
                  </a:cubicBezTo>
                  <a:cubicBezTo>
                    <a:pt x="23" y="104"/>
                    <a:pt x="27" y="103"/>
                    <a:pt x="30" y="99"/>
                  </a:cubicBezTo>
                  <a:cubicBezTo>
                    <a:pt x="32" y="96"/>
                    <a:pt x="35" y="89"/>
                    <a:pt x="35" y="87"/>
                  </a:cubicBezTo>
                  <a:cubicBezTo>
                    <a:pt x="36" y="85"/>
                    <a:pt x="37" y="84"/>
                    <a:pt x="39" y="84"/>
                  </a:cubicBezTo>
                  <a:cubicBezTo>
                    <a:pt x="40" y="85"/>
                    <a:pt x="41" y="86"/>
                    <a:pt x="40" y="89"/>
                  </a:cubicBezTo>
                  <a:cubicBezTo>
                    <a:pt x="40" y="92"/>
                    <a:pt x="40" y="98"/>
                    <a:pt x="40" y="101"/>
                  </a:cubicBezTo>
                  <a:cubicBezTo>
                    <a:pt x="42" y="110"/>
                    <a:pt x="47" y="110"/>
                    <a:pt x="47" y="110"/>
                  </a:cubicBezTo>
                  <a:cubicBezTo>
                    <a:pt x="47" y="110"/>
                    <a:pt x="48" y="111"/>
                    <a:pt x="49" y="113"/>
                  </a:cubicBezTo>
                  <a:cubicBezTo>
                    <a:pt x="50" y="114"/>
                    <a:pt x="51" y="115"/>
                    <a:pt x="52" y="115"/>
                  </a:cubicBezTo>
                  <a:cubicBezTo>
                    <a:pt x="53" y="114"/>
                    <a:pt x="54" y="112"/>
                    <a:pt x="53" y="111"/>
                  </a:cubicBezTo>
                  <a:cubicBezTo>
                    <a:pt x="53" y="109"/>
                    <a:pt x="53" y="108"/>
                    <a:pt x="53" y="108"/>
                  </a:cubicBezTo>
                  <a:cubicBezTo>
                    <a:pt x="54" y="107"/>
                    <a:pt x="56" y="105"/>
                    <a:pt x="55" y="101"/>
                  </a:cubicBezTo>
                  <a:cubicBezTo>
                    <a:pt x="53" y="94"/>
                    <a:pt x="51" y="91"/>
                    <a:pt x="49" y="87"/>
                  </a:cubicBezTo>
                  <a:cubicBezTo>
                    <a:pt x="47" y="85"/>
                    <a:pt x="48" y="84"/>
                    <a:pt x="49" y="83"/>
                  </a:cubicBezTo>
                  <a:cubicBezTo>
                    <a:pt x="50" y="82"/>
                    <a:pt x="52" y="82"/>
                    <a:pt x="54" y="85"/>
                  </a:cubicBezTo>
                  <a:cubicBezTo>
                    <a:pt x="56" y="87"/>
                    <a:pt x="58" y="91"/>
                    <a:pt x="63" y="93"/>
                  </a:cubicBezTo>
                  <a:cubicBezTo>
                    <a:pt x="67" y="95"/>
                    <a:pt x="69" y="94"/>
                    <a:pt x="71" y="93"/>
                  </a:cubicBezTo>
                  <a:cubicBezTo>
                    <a:pt x="71" y="93"/>
                    <a:pt x="72" y="94"/>
                    <a:pt x="74" y="94"/>
                  </a:cubicBezTo>
                  <a:cubicBezTo>
                    <a:pt x="75" y="95"/>
                    <a:pt x="76" y="95"/>
                    <a:pt x="78" y="95"/>
                  </a:cubicBezTo>
                  <a:cubicBezTo>
                    <a:pt x="77" y="93"/>
                    <a:pt x="77" y="92"/>
                    <a:pt x="76" y="91"/>
                  </a:cubicBezTo>
                  <a:cubicBezTo>
                    <a:pt x="76" y="90"/>
                    <a:pt x="75" y="89"/>
                    <a:pt x="74" y="88"/>
                  </a:cubicBezTo>
                  <a:cubicBezTo>
                    <a:pt x="75" y="86"/>
                    <a:pt x="74" y="83"/>
                    <a:pt x="73" y="81"/>
                  </a:cubicBezTo>
                  <a:cubicBezTo>
                    <a:pt x="67" y="75"/>
                    <a:pt x="55" y="70"/>
                    <a:pt x="55" y="7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7"/>
            <p:cNvSpPr>
              <a:spLocks noEditPoints="1"/>
            </p:cNvSpPr>
            <p:nvPr/>
          </p:nvSpPr>
          <p:spPr bwMode="auto">
            <a:xfrm>
              <a:off x="-7135" y="10025"/>
              <a:ext cx="518" cy="598"/>
            </a:xfrm>
            <a:custGeom>
              <a:avLst/>
              <a:gdLst>
                <a:gd name="T0" fmla="*/ 124 w 274"/>
                <a:gd name="T1" fmla="*/ 42 h 317"/>
                <a:gd name="T2" fmla="*/ 270 w 274"/>
                <a:gd name="T3" fmla="*/ 296 h 317"/>
                <a:gd name="T4" fmla="*/ 250 w 274"/>
                <a:gd name="T5" fmla="*/ 286 h 317"/>
                <a:gd name="T6" fmla="*/ 251 w 274"/>
                <a:gd name="T7" fmla="*/ 303 h 317"/>
                <a:gd name="T8" fmla="*/ 249 w 274"/>
                <a:gd name="T9" fmla="*/ 317 h 317"/>
                <a:gd name="T10" fmla="*/ 236 w 274"/>
                <a:gd name="T11" fmla="*/ 303 h 317"/>
                <a:gd name="T12" fmla="*/ 232 w 274"/>
                <a:gd name="T13" fmla="*/ 289 h 317"/>
                <a:gd name="T14" fmla="*/ 213 w 274"/>
                <a:gd name="T15" fmla="*/ 307 h 317"/>
                <a:gd name="T16" fmla="*/ 211 w 274"/>
                <a:gd name="T17" fmla="*/ 300 h 317"/>
                <a:gd name="T18" fmla="*/ 228 w 274"/>
                <a:gd name="T19" fmla="*/ 278 h 317"/>
                <a:gd name="T20" fmla="*/ 202 w 274"/>
                <a:gd name="T21" fmla="*/ 272 h 317"/>
                <a:gd name="T22" fmla="*/ 199 w 274"/>
                <a:gd name="T23" fmla="*/ 267 h 317"/>
                <a:gd name="T24" fmla="*/ 233 w 274"/>
                <a:gd name="T25" fmla="*/ 264 h 317"/>
                <a:gd name="T26" fmla="*/ 206 w 274"/>
                <a:gd name="T27" fmla="*/ 183 h 317"/>
                <a:gd name="T28" fmla="*/ 107 w 274"/>
                <a:gd name="T29" fmla="*/ 240 h 317"/>
                <a:gd name="T30" fmla="*/ 98 w 274"/>
                <a:gd name="T31" fmla="*/ 279 h 317"/>
                <a:gd name="T32" fmla="*/ 98 w 274"/>
                <a:gd name="T33" fmla="*/ 285 h 317"/>
                <a:gd name="T34" fmla="*/ 78 w 274"/>
                <a:gd name="T35" fmla="*/ 275 h 317"/>
                <a:gd name="T36" fmla="*/ 79 w 274"/>
                <a:gd name="T37" fmla="*/ 292 h 317"/>
                <a:gd name="T38" fmla="*/ 76 w 274"/>
                <a:gd name="T39" fmla="*/ 306 h 317"/>
                <a:gd name="T40" fmla="*/ 64 w 274"/>
                <a:gd name="T41" fmla="*/ 292 h 317"/>
                <a:gd name="T42" fmla="*/ 59 w 274"/>
                <a:gd name="T43" fmla="*/ 278 h 317"/>
                <a:gd name="T44" fmla="*/ 41 w 274"/>
                <a:gd name="T45" fmla="*/ 296 h 317"/>
                <a:gd name="T46" fmla="*/ 39 w 274"/>
                <a:gd name="T47" fmla="*/ 288 h 317"/>
                <a:gd name="T48" fmla="*/ 56 w 274"/>
                <a:gd name="T49" fmla="*/ 267 h 317"/>
                <a:gd name="T50" fmla="*/ 30 w 274"/>
                <a:gd name="T51" fmla="*/ 261 h 317"/>
                <a:gd name="T52" fmla="*/ 26 w 274"/>
                <a:gd name="T53" fmla="*/ 256 h 317"/>
                <a:gd name="T54" fmla="*/ 64 w 274"/>
                <a:gd name="T55" fmla="*/ 253 h 317"/>
                <a:gd name="T56" fmla="*/ 93 w 274"/>
                <a:gd name="T57" fmla="*/ 201 h 317"/>
                <a:gd name="T58" fmla="*/ 48 w 274"/>
                <a:gd name="T59" fmla="*/ 138 h 317"/>
                <a:gd name="T60" fmla="*/ 39 w 274"/>
                <a:gd name="T61" fmla="*/ 161 h 317"/>
                <a:gd name="T62" fmla="*/ 34 w 274"/>
                <a:gd name="T63" fmla="*/ 157 h 317"/>
                <a:gd name="T64" fmla="*/ 35 w 274"/>
                <a:gd name="T65" fmla="*/ 133 h 317"/>
                <a:gd name="T66" fmla="*/ 14 w 274"/>
                <a:gd name="T67" fmla="*/ 146 h 317"/>
                <a:gd name="T68" fmla="*/ 7 w 274"/>
                <a:gd name="T69" fmla="*/ 144 h 317"/>
                <a:gd name="T70" fmla="*/ 26 w 274"/>
                <a:gd name="T71" fmla="*/ 127 h 317"/>
                <a:gd name="T72" fmla="*/ 13 w 274"/>
                <a:gd name="T73" fmla="*/ 121 h 317"/>
                <a:gd name="T74" fmla="*/ 0 w 274"/>
                <a:gd name="T75" fmla="*/ 109 h 317"/>
                <a:gd name="T76" fmla="*/ 18 w 274"/>
                <a:gd name="T77" fmla="*/ 106 h 317"/>
                <a:gd name="T78" fmla="*/ 35 w 274"/>
                <a:gd name="T79" fmla="*/ 109 h 317"/>
                <a:gd name="T80" fmla="*/ 29 w 274"/>
                <a:gd name="T81" fmla="*/ 85 h 317"/>
                <a:gd name="T82" fmla="*/ 35 w 274"/>
                <a:gd name="T83" fmla="*/ 86 h 317"/>
                <a:gd name="T84" fmla="*/ 60 w 274"/>
                <a:gd name="T85" fmla="*/ 126 h 317"/>
                <a:gd name="T86" fmla="*/ 105 w 274"/>
                <a:gd name="T87" fmla="*/ 103 h 317"/>
                <a:gd name="T88" fmla="*/ 90 w 274"/>
                <a:gd name="T89" fmla="*/ 82 h 317"/>
                <a:gd name="T90" fmla="*/ 87 w 274"/>
                <a:gd name="T91" fmla="*/ 66 h 317"/>
                <a:gd name="T92" fmla="*/ 102 w 274"/>
                <a:gd name="T93" fmla="*/ 42 h 317"/>
                <a:gd name="T94" fmla="*/ 144 w 274"/>
                <a:gd name="T95" fmla="*/ 29 h 317"/>
                <a:gd name="T96" fmla="*/ 158 w 274"/>
                <a:gd name="T97" fmla="*/ 52 h 317"/>
                <a:gd name="T98" fmla="*/ 170 w 274"/>
                <a:gd name="T99" fmla="*/ 93 h 317"/>
                <a:gd name="T100" fmla="*/ 150 w 274"/>
                <a:gd name="T101" fmla="*/ 99 h 317"/>
                <a:gd name="T102" fmla="*/ 150 w 274"/>
                <a:gd name="T103" fmla="*/ 136 h 317"/>
                <a:gd name="T104" fmla="*/ 138 w 274"/>
                <a:gd name="T105" fmla="*/ 150 h 317"/>
                <a:gd name="T106" fmla="*/ 191 w 274"/>
                <a:gd name="T107" fmla="*/ 104 h 317"/>
                <a:gd name="T108" fmla="*/ 199 w 274"/>
                <a:gd name="T109" fmla="*/ 46 h 317"/>
                <a:gd name="T110" fmla="*/ 220 w 274"/>
                <a:gd name="T111" fmla="*/ 3 h 317"/>
                <a:gd name="T112" fmla="*/ 206 w 274"/>
                <a:gd name="T113" fmla="*/ 50 h 317"/>
                <a:gd name="T114" fmla="*/ 206 w 274"/>
                <a:gd name="T115" fmla="*/ 104 h 317"/>
                <a:gd name="T116" fmla="*/ 238 w 274"/>
                <a:gd name="T117" fmla="*/ 192 h 317"/>
                <a:gd name="T118" fmla="*/ 260 w 274"/>
                <a:gd name="T119" fmla="*/ 196 h 317"/>
                <a:gd name="T120" fmla="*/ 266 w 274"/>
                <a:gd name="T121" fmla="*/ 279 h 317"/>
                <a:gd name="T122" fmla="*/ 274 w 274"/>
                <a:gd name="T123" fmla="*/ 297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74" h="317">
                  <a:moveTo>
                    <a:pt x="112" y="45"/>
                  </a:moveTo>
                  <a:cubicBezTo>
                    <a:pt x="112" y="45"/>
                    <a:pt x="120" y="56"/>
                    <a:pt x="125" y="52"/>
                  </a:cubicBezTo>
                  <a:cubicBezTo>
                    <a:pt x="129" y="50"/>
                    <a:pt x="127" y="45"/>
                    <a:pt x="124" y="42"/>
                  </a:cubicBezTo>
                  <a:cubicBezTo>
                    <a:pt x="120" y="38"/>
                    <a:pt x="116" y="41"/>
                    <a:pt x="112" y="45"/>
                  </a:cubicBezTo>
                  <a:close/>
                  <a:moveTo>
                    <a:pt x="274" y="297"/>
                  </a:moveTo>
                  <a:cubicBezTo>
                    <a:pt x="272" y="297"/>
                    <a:pt x="271" y="297"/>
                    <a:pt x="270" y="296"/>
                  </a:cubicBezTo>
                  <a:cubicBezTo>
                    <a:pt x="269" y="296"/>
                    <a:pt x="267" y="295"/>
                    <a:pt x="267" y="295"/>
                  </a:cubicBezTo>
                  <a:cubicBezTo>
                    <a:pt x="265" y="296"/>
                    <a:pt x="263" y="297"/>
                    <a:pt x="259" y="295"/>
                  </a:cubicBezTo>
                  <a:cubicBezTo>
                    <a:pt x="254" y="293"/>
                    <a:pt x="252" y="289"/>
                    <a:pt x="250" y="286"/>
                  </a:cubicBezTo>
                  <a:cubicBezTo>
                    <a:pt x="248" y="284"/>
                    <a:pt x="247" y="284"/>
                    <a:pt x="245" y="285"/>
                  </a:cubicBezTo>
                  <a:cubicBezTo>
                    <a:pt x="244" y="286"/>
                    <a:pt x="244" y="287"/>
                    <a:pt x="245" y="289"/>
                  </a:cubicBezTo>
                  <a:cubicBezTo>
                    <a:pt x="247" y="292"/>
                    <a:pt x="250" y="296"/>
                    <a:pt x="251" y="303"/>
                  </a:cubicBezTo>
                  <a:cubicBezTo>
                    <a:pt x="252" y="307"/>
                    <a:pt x="250" y="309"/>
                    <a:pt x="249" y="310"/>
                  </a:cubicBezTo>
                  <a:cubicBezTo>
                    <a:pt x="249" y="310"/>
                    <a:pt x="249" y="311"/>
                    <a:pt x="250" y="312"/>
                  </a:cubicBezTo>
                  <a:cubicBezTo>
                    <a:pt x="250" y="314"/>
                    <a:pt x="249" y="316"/>
                    <a:pt x="249" y="317"/>
                  </a:cubicBezTo>
                  <a:cubicBezTo>
                    <a:pt x="247" y="317"/>
                    <a:pt x="246" y="316"/>
                    <a:pt x="245" y="315"/>
                  </a:cubicBezTo>
                  <a:cubicBezTo>
                    <a:pt x="244" y="313"/>
                    <a:pt x="243" y="311"/>
                    <a:pt x="243" y="311"/>
                  </a:cubicBezTo>
                  <a:cubicBezTo>
                    <a:pt x="243" y="311"/>
                    <a:pt x="238" y="312"/>
                    <a:pt x="236" y="303"/>
                  </a:cubicBezTo>
                  <a:cubicBezTo>
                    <a:pt x="236" y="300"/>
                    <a:pt x="236" y="294"/>
                    <a:pt x="236" y="291"/>
                  </a:cubicBezTo>
                  <a:cubicBezTo>
                    <a:pt x="237" y="287"/>
                    <a:pt x="236" y="286"/>
                    <a:pt x="235" y="286"/>
                  </a:cubicBezTo>
                  <a:cubicBezTo>
                    <a:pt x="233" y="286"/>
                    <a:pt x="232" y="286"/>
                    <a:pt x="232" y="289"/>
                  </a:cubicBezTo>
                  <a:cubicBezTo>
                    <a:pt x="231" y="291"/>
                    <a:pt x="228" y="297"/>
                    <a:pt x="226" y="301"/>
                  </a:cubicBezTo>
                  <a:cubicBezTo>
                    <a:pt x="223" y="305"/>
                    <a:pt x="219" y="305"/>
                    <a:pt x="216" y="304"/>
                  </a:cubicBezTo>
                  <a:cubicBezTo>
                    <a:pt x="215" y="306"/>
                    <a:pt x="214" y="306"/>
                    <a:pt x="213" y="307"/>
                  </a:cubicBezTo>
                  <a:cubicBezTo>
                    <a:pt x="212" y="307"/>
                    <a:pt x="211" y="308"/>
                    <a:pt x="210" y="308"/>
                  </a:cubicBezTo>
                  <a:cubicBezTo>
                    <a:pt x="209" y="306"/>
                    <a:pt x="209" y="304"/>
                    <a:pt x="210" y="303"/>
                  </a:cubicBezTo>
                  <a:cubicBezTo>
                    <a:pt x="210" y="301"/>
                    <a:pt x="211" y="300"/>
                    <a:pt x="211" y="300"/>
                  </a:cubicBezTo>
                  <a:cubicBezTo>
                    <a:pt x="210" y="297"/>
                    <a:pt x="211" y="293"/>
                    <a:pt x="214" y="290"/>
                  </a:cubicBezTo>
                  <a:cubicBezTo>
                    <a:pt x="216" y="287"/>
                    <a:pt x="220" y="285"/>
                    <a:pt x="225" y="282"/>
                  </a:cubicBezTo>
                  <a:cubicBezTo>
                    <a:pt x="227" y="281"/>
                    <a:pt x="229" y="279"/>
                    <a:pt x="228" y="278"/>
                  </a:cubicBezTo>
                  <a:cubicBezTo>
                    <a:pt x="227" y="276"/>
                    <a:pt x="226" y="275"/>
                    <a:pt x="224" y="276"/>
                  </a:cubicBezTo>
                  <a:cubicBezTo>
                    <a:pt x="220" y="277"/>
                    <a:pt x="215" y="278"/>
                    <a:pt x="208" y="277"/>
                  </a:cubicBezTo>
                  <a:cubicBezTo>
                    <a:pt x="205" y="276"/>
                    <a:pt x="203" y="274"/>
                    <a:pt x="202" y="272"/>
                  </a:cubicBezTo>
                  <a:cubicBezTo>
                    <a:pt x="202" y="272"/>
                    <a:pt x="200" y="272"/>
                    <a:pt x="199" y="272"/>
                  </a:cubicBezTo>
                  <a:cubicBezTo>
                    <a:pt x="197" y="271"/>
                    <a:pt x="196" y="269"/>
                    <a:pt x="196" y="269"/>
                  </a:cubicBezTo>
                  <a:cubicBezTo>
                    <a:pt x="196" y="269"/>
                    <a:pt x="197" y="268"/>
                    <a:pt x="199" y="267"/>
                  </a:cubicBezTo>
                  <a:cubicBezTo>
                    <a:pt x="200" y="266"/>
                    <a:pt x="202" y="266"/>
                    <a:pt x="202" y="266"/>
                  </a:cubicBezTo>
                  <a:cubicBezTo>
                    <a:pt x="202" y="266"/>
                    <a:pt x="202" y="262"/>
                    <a:pt x="208" y="261"/>
                  </a:cubicBezTo>
                  <a:cubicBezTo>
                    <a:pt x="219" y="260"/>
                    <a:pt x="230" y="263"/>
                    <a:pt x="233" y="264"/>
                  </a:cubicBezTo>
                  <a:cubicBezTo>
                    <a:pt x="236" y="258"/>
                    <a:pt x="240" y="241"/>
                    <a:pt x="238" y="231"/>
                  </a:cubicBezTo>
                  <a:cubicBezTo>
                    <a:pt x="236" y="221"/>
                    <a:pt x="223" y="224"/>
                    <a:pt x="218" y="214"/>
                  </a:cubicBezTo>
                  <a:cubicBezTo>
                    <a:pt x="212" y="203"/>
                    <a:pt x="214" y="185"/>
                    <a:pt x="206" y="183"/>
                  </a:cubicBezTo>
                  <a:cubicBezTo>
                    <a:pt x="192" y="181"/>
                    <a:pt x="203" y="191"/>
                    <a:pt x="156" y="203"/>
                  </a:cubicBezTo>
                  <a:cubicBezTo>
                    <a:pt x="142" y="206"/>
                    <a:pt x="131" y="204"/>
                    <a:pt x="123" y="212"/>
                  </a:cubicBezTo>
                  <a:cubicBezTo>
                    <a:pt x="120" y="216"/>
                    <a:pt x="114" y="231"/>
                    <a:pt x="107" y="240"/>
                  </a:cubicBezTo>
                  <a:cubicBezTo>
                    <a:pt x="93" y="258"/>
                    <a:pt x="83" y="263"/>
                    <a:pt x="83" y="263"/>
                  </a:cubicBezTo>
                  <a:cubicBezTo>
                    <a:pt x="85" y="263"/>
                    <a:pt x="92" y="267"/>
                    <a:pt x="97" y="272"/>
                  </a:cubicBezTo>
                  <a:cubicBezTo>
                    <a:pt x="98" y="273"/>
                    <a:pt x="98" y="277"/>
                    <a:pt x="98" y="279"/>
                  </a:cubicBezTo>
                  <a:cubicBezTo>
                    <a:pt x="99" y="280"/>
                    <a:pt x="100" y="280"/>
                    <a:pt x="100" y="282"/>
                  </a:cubicBezTo>
                  <a:cubicBezTo>
                    <a:pt x="101" y="283"/>
                    <a:pt x="101" y="284"/>
                    <a:pt x="102" y="286"/>
                  </a:cubicBezTo>
                  <a:cubicBezTo>
                    <a:pt x="100" y="286"/>
                    <a:pt x="99" y="286"/>
                    <a:pt x="98" y="285"/>
                  </a:cubicBezTo>
                  <a:cubicBezTo>
                    <a:pt x="96" y="285"/>
                    <a:pt x="95" y="284"/>
                    <a:pt x="95" y="284"/>
                  </a:cubicBezTo>
                  <a:cubicBezTo>
                    <a:pt x="93" y="285"/>
                    <a:pt x="91" y="286"/>
                    <a:pt x="87" y="284"/>
                  </a:cubicBezTo>
                  <a:cubicBezTo>
                    <a:pt x="82" y="282"/>
                    <a:pt x="80" y="278"/>
                    <a:pt x="78" y="275"/>
                  </a:cubicBezTo>
                  <a:cubicBezTo>
                    <a:pt x="76" y="273"/>
                    <a:pt x="74" y="273"/>
                    <a:pt x="73" y="274"/>
                  </a:cubicBezTo>
                  <a:cubicBezTo>
                    <a:pt x="72" y="275"/>
                    <a:pt x="71" y="276"/>
                    <a:pt x="73" y="278"/>
                  </a:cubicBezTo>
                  <a:cubicBezTo>
                    <a:pt x="75" y="281"/>
                    <a:pt x="77" y="285"/>
                    <a:pt x="79" y="292"/>
                  </a:cubicBezTo>
                  <a:cubicBezTo>
                    <a:pt x="80" y="296"/>
                    <a:pt x="78" y="298"/>
                    <a:pt x="77" y="299"/>
                  </a:cubicBezTo>
                  <a:cubicBezTo>
                    <a:pt x="77" y="299"/>
                    <a:pt x="77" y="300"/>
                    <a:pt x="77" y="301"/>
                  </a:cubicBezTo>
                  <a:cubicBezTo>
                    <a:pt x="77" y="303"/>
                    <a:pt x="77" y="305"/>
                    <a:pt x="76" y="306"/>
                  </a:cubicBezTo>
                  <a:cubicBezTo>
                    <a:pt x="75" y="306"/>
                    <a:pt x="74" y="305"/>
                    <a:pt x="73" y="303"/>
                  </a:cubicBezTo>
                  <a:cubicBezTo>
                    <a:pt x="71" y="302"/>
                    <a:pt x="71" y="300"/>
                    <a:pt x="71" y="300"/>
                  </a:cubicBezTo>
                  <a:cubicBezTo>
                    <a:pt x="71" y="300"/>
                    <a:pt x="66" y="301"/>
                    <a:pt x="64" y="292"/>
                  </a:cubicBezTo>
                  <a:cubicBezTo>
                    <a:pt x="64" y="289"/>
                    <a:pt x="64" y="283"/>
                    <a:pt x="64" y="280"/>
                  </a:cubicBezTo>
                  <a:cubicBezTo>
                    <a:pt x="65" y="276"/>
                    <a:pt x="64" y="275"/>
                    <a:pt x="62" y="275"/>
                  </a:cubicBezTo>
                  <a:cubicBezTo>
                    <a:pt x="61" y="275"/>
                    <a:pt x="60" y="275"/>
                    <a:pt x="59" y="278"/>
                  </a:cubicBezTo>
                  <a:cubicBezTo>
                    <a:pt x="58" y="280"/>
                    <a:pt x="56" y="286"/>
                    <a:pt x="53" y="290"/>
                  </a:cubicBezTo>
                  <a:cubicBezTo>
                    <a:pt x="51" y="294"/>
                    <a:pt x="47" y="294"/>
                    <a:pt x="44" y="293"/>
                  </a:cubicBezTo>
                  <a:cubicBezTo>
                    <a:pt x="43" y="295"/>
                    <a:pt x="42" y="295"/>
                    <a:pt x="41" y="296"/>
                  </a:cubicBezTo>
                  <a:cubicBezTo>
                    <a:pt x="40" y="296"/>
                    <a:pt x="38" y="297"/>
                    <a:pt x="37" y="297"/>
                  </a:cubicBezTo>
                  <a:cubicBezTo>
                    <a:pt x="37" y="295"/>
                    <a:pt x="37" y="293"/>
                    <a:pt x="37" y="292"/>
                  </a:cubicBezTo>
                  <a:cubicBezTo>
                    <a:pt x="38" y="290"/>
                    <a:pt x="38" y="289"/>
                    <a:pt x="39" y="288"/>
                  </a:cubicBezTo>
                  <a:cubicBezTo>
                    <a:pt x="38" y="286"/>
                    <a:pt x="39" y="282"/>
                    <a:pt x="41" y="279"/>
                  </a:cubicBezTo>
                  <a:cubicBezTo>
                    <a:pt x="44" y="276"/>
                    <a:pt x="48" y="274"/>
                    <a:pt x="53" y="271"/>
                  </a:cubicBezTo>
                  <a:cubicBezTo>
                    <a:pt x="55" y="270"/>
                    <a:pt x="56" y="268"/>
                    <a:pt x="56" y="267"/>
                  </a:cubicBezTo>
                  <a:cubicBezTo>
                    <a:pt x="55" y="265"/>
                    <a:pt x="53" y="264"/>
                    <a:pt x="51" y="265"/>
                  </a:cubicBezTo>
                  <a:cubicBezTo>
                    <a:pt x="47" y="266"/>
                    <a:pt x="43" y="267"/>
                    <a:pt x="35" y="266"/>
                  </a:cubicBezTo>
                  <a:cubicBezTo>
                    <a:pt x="32" y="265"/>
                    <a:pt x="30" y="263"/>
                    <a:pt x="30" y="261"/>
                  </a:cubicBezTo>
                  <a:cubicBezTo>
                    <a:pt x="30" y="261"/>
                    <a:pt x="28" y="261"/>
                    <a:pt x="27" y="261"/>
                  </a:cubicBezTo>
                  <a:cubicBezTo>
                    <a:pt x="25" y="260"/>
                    <a:pt x="23" y="258"/>
                    <a:pt x="23" y="258"/>
                  </a:cubicBezTo>
                  <a:cubicBezTo>
                    <a:pt x="23" y="258"/>
                    <a:pt x="25" y="257"/>
                    <a:pt x="26" y="256"/>
                  </a:cubicBezTo>
                  <a:cubicBezTo>
                    <a:pt x="28" y="255"/>
                    <a:pt x="30" y="255"/>
                    <a:pt x="30" y="255"/>
                  </a:cubicBezTo>
                  <a:cubicBezTo>
                    <a:pt x="30" y="255"/>
                    <a:pt x="31" y="251"/>
                    <a:pt x="36" y="250"/>
                  </a:cubicBezTo>
                  <a:cubicBezTo>
                    <a:pt x="51" y="248"/>
                    <a:pt x="64" y="253"/>
                    <a:pt x="64" y="253"/>
                  </a:cubicBezTo>
                  <a:cubicBezTo>
                    <a:pt x="64" y="253"/>
                    <a:pt x="81" y="241"/>
                    <a:pt x="87" y="233"/>
                  </a:cubicBezTo>
                  <a:cubicBezTo>
                    <a:pt x="91" y="227"/>
                    <a:pt x="95" y="219"/>
                    <a:pt x="96" y="212"/>
                  </a:cubicBezTo>
                  <a:cubicBezTo>
                    <a:pt x="98" y="204"/>
                    <a:pt x="95" y="203"/>
                    <a:pt x="93" y="201"/>
                  </a:cubicBezTo>
                  <a:cubicBezTo>
                    <a:pt x="89" y="198"/>
                    <a:pt x="83" y="195"/>
                    <a:pt x="76" y="186"/>
                  </a:cubicBezTo>
                  <a:cubicBezTo>
                    <a:pt x="72" y="182"/>
                    <a:pt x="67" y="170"/>
                    <a:pt x="67" y="158"/>
                  </a:cubicBezTo>
                  <a:cubicBezTo>
                    <a:pt x="61" y="153"/>
                    <a:pt x="53" y="145"/>
                    <a:pt x="48" y="138"/>
                  </a:cubicBezTo>
                  <a:cubicBezTo>
                    <a:pt x="48" y="141"/>
                    <a:pt x="49" y="147"/>
                    <a:pt x="46" y="154"/>
                  </a:cubicBezTo>
                  <a:cubicBezTo>
                    <a:pt x="45" y="156"/>
                    <a:pt x="42" y="157"/>
                    <a:pt x="40" y="158"/>
                  </a:cubicBezTo>
                  <a:cubicBezTo>
                    <a:pt x="40" y="159"/>
                    <a:pt x="39" y="160"/>
                    <a:pt x="39" y="161"/>
                  </a:cubicBezTo>
                  <a:cubicBezTo>
                    <a:pt x="38" y="162"/>
                    <a:pt x="37" y="163"/>
                    <a:pt x="35" y="164"/>
                  </a:cubicBezTo>
                  <a:cubicBezTo>
                    <a:pt x="35" y="162"/>
                    <a:pt x="34" y="161"/>
                    <a:pt x="34" y="160"/>
                  </a:cubicBezTo>
                  <a:cubicBezTo>
                    <a:pt x="34" y="158"/>
                    <a:pt x="34" y="157"/>
                    <a:pt x="34" y="157"/>
                  </a:cubicBezTo>
                  <a:cubicBezTo>
                    <a:pt x="32" y="156"/>
                    <a:pt x="31" y="154"/>
                    <a:pt x="31" y="150"/>
                  </a:cubicBezTo>
                  <a:cubicBezTo>
                    <a:pt x="31" y="144"/>
                    <a:pt x="34" y="140"/>
                    <a:pt x="35" y="138"/>
                  </a:cubicBezTo>
                  <a:cubicBezTo>
                    <a:pt x="37" y="135"/>
                    <a:pt x="36" y="134"/>
                    <a:pt x="35" y="133"/>
                  </a:cubicBezTo>
                  <a:cubicBezTo>
                    <a:pt x="34" y="132"/>
                    <a:pt x="32" y="132"/>
                    <a:pt x="31" y="134"/>
                  </a:cubicBezTo>
                  <a:cubicBezTo>
                    <a:pt x="29" y="137"/>
                    <a:pt x="27" y="141"/>
                    <a:pt x="21" y="145"/>
                  </a:cubicBezTo>
                  <a:cubicBezTo>
                    <a:pt x="17" y="147"/>
                    <a:pt x="15" y="146"/>
                    <a:pt x="14" y="146"/>
                  </a:cubicBezTo>
                  <a:cubicBezTo>
                    <a:pt x="14" y="146"/>
                    <a:pt x="13" y="147"/>
                    <a:pt x="11" y="147"/>
                  </a:cubicBezTo>
                  <a:cubicBezTo>
                    <a:pt x="10" y="148"/>
                    <a:pt x="8" y="149"/>
                    <a:pt x="6" y="148"/>
                  </a:cubicBezTo>
                  <a:cubicBezTo>
                    <a:pt x="6" y="147"/>
                    <a:pt x="7" y="145"/>
                    <a:pt x="7" y="144"/>
                  </a:cubicBezTo>
                  <a:cubicBezTo>
                    <a:pt x="8" y="142"/>
                    <a:pt x="10" y="141"/>
                    <a:pt x="10" y="141"/>
                  </a:cubicBezTo>
                  <a:cubicBezTo>
                    <a:pt x="10" y="141"/>
                    <a:pt x="7" y="137"/>
                    <a:pt x="15" y="131"/>
                  </a:cubicBezTo>
                  <a:cubicBezTo>
                    <a:pt x="17" y="130"/>
                    <a:pt x="23" y="128"/>
                    <a:pt x="26" y="127"/>
                  </a:cubicBezTo>
                  <a:cubicBezTo>
                    <a:pt x="29" y="126"/>
                    <a:pt x="30" y="125"/>
                    <a:pt x="30" y="124"/>
                  </a:cubicBezTo>
                  <a:cubicBezTo>
                    <a:pt x="29" y="122"/>
                    <a:pt x="28" y="121"/>
                    <a:pt x="26" y="122"/>
                  </a:cubicBezTo>
                  <a:cubicBezTo>
                    <a:pt x="23" y="122"/>
                    <a:pt x="17" y="122"/>
                    <a:pt x="13" y="121"/>
                  </a:cubicBezTo>
                  <a:cubicBezTo>
                    <a:pt x="8" y="120"/>
                    <a:pt x="6" y="117"/>
                    <a:pt x="6" y="114"/>
                  </a:cubicBezTo>
                  <a:cubicBezTo>
                    <a:pt x="4" y="113"/>
                    <a:pt x="3" y="112"/>
                    <a:pt x="2" y="112"/>
                  </a:cubicBezTo>
                  <a:cubicBezTo>
                    <a:pt x="1" y="111"/>
                    <a:pt x="1" y="110"/>
                    <a:pt x="0" y="109"/>
                  </a:cubicBezTo>
                  <a:cubicBezTo>
                    <a:pt x="1" y="108"/>
                    <a:pt x="3" y="107"/>
                    <a:pt x="4" y="107"/>
                  </a:cubicBezTo>
                  <a:cubicBezTo>
                    <a:pt x="6" y="107"/>
                    <a:pt x="7" y="107"/>
                    <a:pt x="8" y="107"/>
                  </a:cubicBezTo>
                  <a:cubicBezTo>
                    <a:pt x="10" y="105"/>
                    <a:pt x="14" y="105"/>
                    <a:pt x="18" y="106"/>
                  </a:cubicBezTo>
                  <a:cubicBezTo>
                    <a:pt x="21" y="107"/>
                    <a:pt x="25" y="109"/>
                    <a:pt x="30" y="113"/>
                  </a:cubicBezTo>
                  <a:cubicBezTo>
                    <a:pt x="32" y="114"/>
                    <a:pt x="33" y="115"/>
                    <a:pt x="35" y="114"/>
                  </a:cubicBezTo>
                  <a:cubicBezTo>
                    <a:pt x="36" y="113"/>
                    <a:pt x="36" y="111"/>
                    <a:pt x="35" y="109"/>
                  </a:cubicBezTo>
                  <a:cubicBezTo>
                    <a:pt x="32" y="106"/>
                    <a:pt x="30" y="102"/>
                    <a:pt x="28" y="95"/>
                  </a:cubicBezTo>
                  <a:cubicBezTo>
                    <a:pt x="27" y="92"/>
                    <a:pt x="28" y="89"/>
                    <a:pt x="30" y="88"/>
                  </a:cubicBezTo>
                  <a:cubicBezTo>
                    <a:pt x="30" y="88"/>
                    <a:pt x="29" y="86"/>
                    <a:pt x="29" y="85"/>
                  </a:cubicBezTo>
                  <a:cubicBezTo>
                    <a:pt x="29" y="83"/>
                    <a:pt x="30" y="81"/>
                    <a:pt x="30" y="81"/>
                  </a:cubicBezTo>
                  <a:cubicBezTo>
                    <a:pt x="30" y="81"/>
                    <a:pt x="32" y="81"/>
                    <a:pt x="33" y="83"/>
                  </a:cubicBezTo>
                  <a:cubicBezTo>
                    <a:pt x="34" y="84"/>
                    <a:pt x="35" y="86"/>
                    <a:pt x="35" y="86"/>
                  </a:cubicBezTo>
                  <a:cubicBezTo>
                    <a:pt x="35" y="86"/>
                    <a:pt x="41" y="84"/>
                    <a:pt x="43" y="90"/>
                  </a:cubicBezTo>
                  <a:cubicBezTo>
                    <a:pt x="49" y="99"/>
                    <a:pt x="48" y="107"/>
                    <a:pt x="47" y="110"/>
                  </a:cubicBezTo>
                  <a:cubicBezTo>
                    <a:pt x="51" y="118"/>
                    <a:pt x="55" y="122"/>
                    <a:pt x="60" y="126"/>
                  </a:cubicBezTo>
                  <a:cubicBezTo>
                    <a:pt x="63" y="129"/>
                    <a:pt x="68" y="132"/>
                    <a:pt x="73" y="134"/>
                  </a:cubicBezTo>
                  <a:cubicBezTo>
                    <a:pt x="76" y="129"/>
                    <a:pt x="81" y="123"/>
                    <a:pt x="87" y="118"/>
                  </a:cubicBezTo>
                  <a:cubicBezTo>
                    <a:pt x="94" y="111"/>
                    <a:pt x="99" y="108"/>
                    <a:pt x="105" y="103"/>
                  </a:cubicBezTo>
                  <a:cubicBezTo>
                    <a:pt x="111" y="97"/>
                    <a:pt x="114" y="91"/>
                    <a:pt x="114" y="91"/>
                  </a:cubicBezTo>
                  <a:cubicBezTo>
                    <a:pt x="114" y="91"/>
                    <a:pt x="103" y="88"/>
                    <a:pt x="92" y="91"/>
                  </a:cubicBezTo>
                  <a:cubicBezTo>
                    <a:pt x="91" y="89"/>
                    <a:pt x="88" y="85"/>
                    <a:pt x="90" y="82"/>
                  </a:cubicBezTo>
                  <a:cubicBezTo>
                    <a:pt x="99" y="78"/>
                    <a:pt x="112" y="79"/>
                    <a:pt x="117" y="81"/>
                  </a:cubicBezTo>
                  <a:cubicBezTo>
                    <a:pt x="119" y="78"/>
                    <a:pt x="123" y="70"/>
                    <a:pt x="119" y="66"/>
                  </a:cubicBezTo>
                  <a:cubicBezTo>
                    <a:pt x="113" y="61"/>
                    <a:pt x="98" y="60"/>
                    <a:pt x="87" y="66"/>
                  </a:cubicBezTo>
                  <a:cubicBezTo>
                    <a:pt x="84" y="64"/>
                    <a:pt x="81" y="59"/>
                    <a:pt x="83" y="53"/>
                  </a:cubicBezTo>
                  <a:cubicBezTo>
                    <a:pt x="77" y="47"/>
                    <a:pt x="81" y="45"/>
                    <a:pt x="83" y="44"/>
                  </a:cubicBezTo>
                  <a:cubicBezTo>
                    <a:pt x="90" y="41"/>
                    <a:pt x="95" y="42"/>
                    <a:pt x="102" y="42"/>
                  </a:cubicBezTo>
                  <a:cubicBezTo>
                    <a:pt x="102" y="40"/>
                    <a:pt x="102" y="38"/>
                    <a:pt x="103" y="35"/>
                  </a:cubicBezTo>
                  <a:cubicBezTo>
                    <a:pt x="106" y="28"/>
                    <a:pt x="124" y="30"/>
                    <a:pt x="131" y="30"/>
                  </a:cubicBezTo>
                  <a:cubicBezTo>
                    <a:pt x="136" y="30"/>
                    <a:pt x="140" y="29"/>
                    <a:pt x="144" y="29"/>
                  </a:cubicBezTo>
                  <a:cubicBezTo>
                    <a:pt x="150" y="27"/>
                    <a:pt x="150" y="33"/>
                    <a:pt x="148" y="35"/>
                  </a:cubicBezTo>
                  <a:lnTo>
                    <a:pt x="145" y="40"/>
                  </a:lnTo>
                  <a:cubicBezTo>
                    <a:pt x="150" y="42"/>
                    <a:pt x="156" y="46"/>
                    <a:pt x="158" y="52"/>
                  </a:cubicBezTo>
                  <a:cubicBezTo>
                    <a:pt x="160" y="56"/>
                    <a:pt x="159" y="62"/>
                    <a:pt x="160" y="66"/>
                  </a:cubicBezTo>
                  <a:cubicBezTo>
                    <a:pt x="161" y="70"/>
                    <a:pt x="164" y="72"/>
                    <a:pt x="166" y="76"/>
                  </a:cubicBezTo>
                  <a:cubicBezTo>
                    <a:pt x="169" y="82"/>
                    <a:pt x="170" y="87"/>
                    <a:pt x="170" y="93"/>
                  </a:cubicBezTo>
                  <a:cubicBezTo>
                    <a:pt x="171" y="99"/>
                    <a:pt x="166" y="99"/>
                    <a:pt x="164" y="97"/>
                  </a:cubicBezTo>
                  <a:cubicBezTo>
                    <a:pt x="162" y="97"/>
                    <a:pt x="159" y="92"/>
                    <a:pt x="155" y="93"/>
                  </a:cubicBezTo>
                  <a:cubicBezTo>
                    <a:pt x="153" y="93"/>
                    <a:pt x="151" y="96"/>
                    <a:pt x="150" y="99"/>
                  </a:cubicBezTo>
                  <a:cubicBezTo>
                    <a:pt x="150" y="99"/>
                    <a:pt x="156" y="108"/>
                    <a:pt x="157" y="116"/>
                  </a:cubicBezTo>
                  <a:cubicBezTo>
                    <a:pt x="159" y="123"/>
                    <a:pt x="158" y="128"/>
                    <a:pt x="157" y="134"/>
                  </a:cubicBezTo>
                  <a:cubicBezTo>
                    <a:pt x="157" y="140"/>
                    <a:pt x="151" y="138"/>
                    <a:pt x="150" y="136"/>
                  </a:cubicBezTo>
                  <a:cubicBezTo>
                    <a:pt x="148" y="134"/>
                    <a:pt x="147" y="130"/>
                    <a:pt x="143" y="129"/>
                  </a:cubicBezTo>
                  <a:cubicBezTo>
                    <a:pt x="139" y="129"/>
                    <a:pt x="136" y="133"/>
                    <a:pt x="135" y="137"/>
                  </a:cubicBezTo>
                  <a:cubicBezTo>
                    <a:pt x="135" y="142"/>
                    <a:pt x="135" y="146"/>
                    <a:pt x="138" y="150"/>
                  </a:cubicBezTo>
                  <a:cubicBezTo>
                    <a:pt x="149" y="166"/>
                    <a:pt x="201" y="135"/>
                    <a:pt x="223" y="153"/>
                  </a:cubicBezTo>
                  <a:cubicBezTo>
                    <a:pt x="225" y="147"/>
                    <a:pt x="225" y="140"/>
                    <a:pt x="224" y="135"/>
                  </a:cubicBezTo>
                  <a:cubicBezTo>
                    <a:pt x="221" y="123"/>
                    <a:pt x="201" y="117"/>
                    <a:pt x="191" y="104"/>
                  </a:cubicBezTo>
                  <a:lnTo>
                    <a:pt x="191" y="104"/>
                  </a:lnTo>
                  <a:cubicBezTo>
                    <a:pt x="189" y="101"/>
                    <a:pt x="187" y="98"/>
                    <a:pt x="187" y="94"/>
                  </a:cubicBezTo>
                  <a:cubicBezTo>
                    <a:pt x="183" y="78"/>
                    <a:pt x="194" y="56"/>
                    <a:pt x="199" y="46"/>
                  </a:cubicBezTo>
                  <a:cubicBezTo>
                    <a:pt x="195" y="39"/>
                    <a:pt x="197" y="26"/>
                    <a:pt x="199" y="20"/>
                  </a:cubicBezTo>
                  <a:cubicBezTo>
                    <a:pt x="202" y="13"/>
                    <a:pt x="204" y="10"/>
                    <a:pt x="208" y="5"/>
                  </a:cubicBezTo>
                  <a:cubicBezTo>
                    <a:pt x="211" y="0"/>
                    <a:pt x="220" y="1"/>
                    <a:pt x="220" y="3"/>
                  </a:cubicBezTo>
                  <a:cubicBezTo>
                    <a:pt x="220" y="3"/>
                    <a:pt x="210" y="15"/>
                    <a:pt x="214" y="19"/>
                  </a:cubicBezTo>
                  <a:cubicBezTo>
                    <a:pt x="217" y="23"/>
                    <a:pt x="235" y="10"/>
                    <a:pt x="222" y="38"/>
                  </a:cubicBezTo>
                  <a:cubicBezTo>
                    <a:pt x="217" y="48"/>
                    <a:pt x="211" y="51"/>
                    <a:pt x="206" y="50"/>
                  </a:cubicBezTo>
                  <a:cubicBezTo>
                    <a:pt x="200" y="61"/>
                    <a:pt x="194" y="78"/>
                    <a:pt x="197" y="91"/>
                  </a:cubicBezTo>
                  <a:cubicBezTo>
                    <a:pt x="198" y="96"/>
                    <a:pt x="201" y="100"/>
                    <a:pt x="206" y="104"/>
                  </a:cubicBezTo>
                  <a:lnTo>
                    <a:pt x="206" y="104"/>
                  </a:lnTo>
                  <a:cubicBezTo>
                    <a:pt x="216" y="112"/>
                    <a:pt x="232" y="118"/>
                    <a:pt x="235" y="134"/>
                  </a:cubicBezTo>
                  <a:cubicBezTo>
                    <a:pt x="237" y="143"/>
                    <a:pt x="234" y="155"/>
                    <a:pt x="232" y="164"/>
                  </a:cubicBezTo>
                  <a:cubicBezTo>
                    <a:pt x="236" y="173"/>
                    <a:pt x="236" y="183"/>
                    <a:pt x="238" y="192"/>
                  </a:cubicBezTo>
                  <a:cubicBezTo>
                    <a:pt x="239" y="195"/>
                    <a:pt x="242" y="200"/>
                    <a:pt x="246" y="200"/>
                  </a:cubicBezTo>
                  <a:cubicBezTo>
                    <a:pt x="249" y="200"/>
                    <a:pt x="251" y="196"/>
                    <a:pt x="253" y="194"/>
                  </a:cubicBezTo>
                  <a:cubicBezTo>
                    <a:pt x="255" y="191"/>
                    <a:pt x="260" y="190"/>
                    <a:pt x="260" y="196"/>
                  </a:cubicBezTo>
                  <a:cubicBezTo>
                    <a:pt x="261" y="202"/>
                    <a:pt x="263" y="207"/>
                    <a:pt x="263" y="213"/>
                  </a:cubicBezTo>
                  <a:cubicBezTo>
                    <a:pt x="263" y="237"/>
                    <a:pt x="256" y="256"/>
                    <a:pt x="250" y="271"/>
                  </a:cubicBezTo>
                  <a:cubicBezTo>
                    <a:pt x="250" y="271"/>
                    <a:pt x="256" y="273"/>
                    <a:pt x="266" y="279"/>
                  </a:cubicBezTo>
                  <a:cubicBezTo>
                    <a:pt x="273" y="284"/>
                    <a:pt x="271" y="288"/>
                    <a:pt x="271" y="290"/>
                  </a:cubicBezTo>
                  <a:cubicBezTo>
                    <a:pt x="271" y="291"/>
                    <a:pt x="272" y="291"/>
                    <a:pt x="273" y="293"/>
                  </a:cubicBezTo>
                  <a:cubicBezTo>
                    <a:pt x="273" y="294"/>
                    <a:pt x="274" y="295"/>
                    <a:pt x="274" y="29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8"/>
            <p:cNvSpPr>
              <a:spLocks/>
            </p:cNvSpPr>
            <p:nvPr/>
          </p:nvSpPr>
          <p:spPr bwMode="auto">
            <a:xfrm>
              <a:off x="-7037" y="10138"/>
              <a:ext cx="74" cy="46"/>
            </a:xfrm>
            <a:custGeom>
              <a:avLst/>
              <a:gdLst>
                <a:gd name="T0" fmla="*/ 8 w 39"/>
                <a:gd name="T1" fmla="*/ 18 h 24"/>
                <a:gd name="T2" fmla="*/ 39 w 39"/>
                <a:gd name="T3" fmla="*/ 13 h 24"/>
                <a:gd name="T4" fmla="*/ 15 w 39"/>
                <a:gd name="T5" fmla="*/ 0 h 24"/>
                <a:gd name="T6" fmla="*/ 8 w 39"/>
                <a:gd name="T7" fmla="*/ 18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24">
                  <a:moveTo>
                    <a:pt x="8" y="18"/>
                  </a:moveTo>
                  <a:cubicBezTo>
                    <a:pt x="22" y="24"/>
                    <a:pt x="39" y="15"/>
                    <a:pt x="39" y="13"/>
                  </a:cubicBezTo>
                  <a:cubicBezTo>
                    <a:pt x="18" y="16"/>
                    <a:pt x="10" y="10"/>
                    <a:pt x="15" y="0"/>
                  </a:cubicBezTo>
                  <a:cubicBezTo>
                    <a:pt x="0" y="2"/>
                    <a:pt x="1" y="15"/>
                    <a:pt x="8" y="1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9"/>
            <p:cNvSpPr>
              <a:spLocks/>
            </p:cNvSpPr>
            <p:nvPr/>
          </p:nvSpPr>
          <p:spPr bwMode="auto">
            <a:xfrm>
              <a:off x="-6920" y="11006"/>
              <a:ext cx="170" cy="217"/>
            </a:xfrm>
            <a:custGeom>
              <a:avLst/>
              <a:gdLst>
                <a:gd name="T0" fmla="*/ 55 w 90"/>
                <a:gd name="T1" fmla="*/ 70 h 115"/>
                <a:gd name="T2" fmla="*/ 76 w 90"/>
                <a:gd name="T3" fmla="*/ 57 h 115"/>
                <a:gd name="T4" fmla="*/ 90 w 90"/>
                <a:gd name="T5" fmla="*/ 36 h 115"/>
                <a:gd name="T6" fmla="*/ 82 w 90"/>
                <a:gd name="T7" fmla="*/ 4 h 115"/>
                <a:gd name="T8" fmla="*/ 75 w 90"/>
                <a:gd name="T9" fmla="*/ 2 h 115"/>
                <a:gd name="T10" fmla="*/ 51 w 90"/>
                <a:gd name="T11" fmla="*/ 11 h 115"/>
                <a:gd name="T12" fmla="*/ 52 w 90"/>
                <a:gd name="T13" fmla="*/ 30 h 115"/>
                <a:gd name="T14" fmla="*/ 63 w 90"/>
                <a:gd name="T15" fmla="*/ 39 h 115"/>
                <a:gd name="T16" fmla="*/ 54 w 90"/>
                <a:gd name="T17" fmla="*/ 51 h 115"/>
                <a:gd name="T18" fmla="*/ 37 w 90"/>
                <a:gd name="T19" fmla="*/ 62 h 115"/>
                <a:gd name="T20" fmla="*/ 12 w 90"/>
                <a:gd name="T21" fmla="*/ 59 h 115"/>
                <a:gd name="T22" fmla="*/ 6 w 90"/>
                <a:gd name="T23" fmla="*/ 64 h 115"/>
                <a:gd name="T24" fmla="*/ 2 w 90"/>
                <a:gd name="T25" fmla="*/ 65 h 115"/>
                <a:gd name="T26" fmla="*/ 0 w 90"/>
                <a:gd name="T27" fmla="*/ 67 h 115"/>
                <a:gd name="T28" fmla="*/ 3 w 90"/>
                <a:gd name="T29" fmla="*/ 70 h 115"/>
                <a:gd name="T30" fmla="*/ 6 w 90"/>
                <a:gd name="T31" fmla="*/ 70 h 115"/>
                <a:gd name="T32" fmla="*/ 11 w 90"/>
                <a:gd name="T33" fmla="*/ 75 h 115"/>
                <a:gd name="T34" fmla="*/ 27 w 90"/>
                <a:gd name="T35" fmla="*/ 74 h 115"/>
                <a:gd name="T36" fmla="*/ 32 w 90"/>
                <a:gd name="T37" fmla="*/ 76 h 115"/>
                <a:gd name="T38" fmla="*/ 29 w 90"/>
                <a:gd name="T39" fmla="*/ 80 h 115"/>
                <a:gd name="T40" fmla="*/ 17 w 90"/>
                <a:gd name="T41" fmla="*/ 88 h 115"/>
                <a:gd name="T42" fmla="*/ 15 w 90"/>
                <a:gd name="T43" fmla="*/ 98 h 115"/>
                <a:gd name="T44" fmla="*/ 13 w 90"/>
                <a:gd name="T45" fmla="*/ 101 h 115"/>
                <a:gd name="T46" fmla="*/ 14 w 90"/>
                <a:gd name="T47" fmla="*/ 106 h 115"/>
                <a:gd name="T48" fmla="*/ 17 w 90"/>
                <a:gd name="T49" fmla="*/ 105 h 115"/>
                <a:gd name="T50" fmla="*/ 20 w 90"/>
                <a:gd name="T51" fmla="*/ 103 h 115"/>
                <a:gd name="T52" fmla="*/ 30 w 90"/>
                <a:gd name="T53" fmla="*/ 99 h 115"/>
                <a:gd name="T54" fmla="*/ 35 w 90"/>
                <a:gd name="T55" fmla="*/ 87 h 115"/>
                <a:gd name="T56" fmla="*/ 39 w 90"/>
                <a:gd name="T57" fmla="*/ 84 h 115"/>
                <a:gd name="T58" fmla="*/ 40 w 90"/>
                <a:gd name="T59" fmla="*/ 89 h 115"/>
                <a:gd name="T60" fmla="*/ 40 w 90"/>
                <a:gd name="T61" fmla="*/ 101 h 115"/>
                <a:gd name="T62" fmla="*/ 47 w 90"/>
                <a:gd name="T63" fmla="*/ 110 h 115"/>
                <a:gd name="T64" fmla="*/ 49 w 90"/>
                <a:gd name="T65" fmla="*/ 113 h 115"/>
                <a:gd name="T66" fmla="*/ 52 w 90"/>
                <a:gd name="T67" fmla="*/ 115 h 115"/>
                <a:gd name="T68" fmla="*/ 53 w 90"/>
                <a:gd name="T69" fmla="*/ 110 h 115"/>
                <a:gd name="T70" fmla="*/ 53 w 90"/>
                <a:gd name="T71" fmla="*/ 108 h 115"/>
                <a:gd name="T72" fmla="*/ 55 w 90"/>
                <a:gd name="T73" fmla="*/ 101 h 115"/>
                <a:gd name="T74" fmla="*/ 49 w 90"/>
                <a:gd name="T75" fmla="*/ 87 h 115"/>
                <a:gd name="T76" fmla="*/ 49 w 90"/>
                <a:gd name="T77" fmla="*/ 83 h 115"/>
                <a:gd name="T78" fmla="*/ 54 w 90"/>
                <a:gd name="T79" fmla="*/ 85 h 115"/>
                <a:gd name="T80" fmla="*/ 63 w 90"/>
                <a:gd name="T81" fmla="*/ 93 h 115"/>
                <a:gd name="T82" fmla="*/ 71 w 90"/>
                <a:gd name="T83" fmla="*/ 93 h 115"/>
                <a:gd name="T84" fmla="*/ 74 w 90"/>
                <a:gd name="T85" fmla="*/ 94 h 115"/>
                <a:gd name="T86" fmla="*/ 78 w 90"/>
                <a:gd name="T87" fmla="*/ 95 h 115"/>
                <a:gd name="T88" fmla="*/ 76 w 90"/>
                <a:gd name="T89" fmla="*/ 91 h 115"/>
                <a:gd name="T90" fmla="*/ 74 w 90"/>
                <a:gd name="T91" fmla="*/ 88 h 115"/>
                <a:gd name="T92" fmla="*/ 73 w 90"/>
                <a:gd name="T93" fmla="*/ 81 h 115"/>
                <a:gd name="T94" fmla="*/ 55 w 90"/>
                <a:gd name="T95" fmla="*/ 7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90" h="115">
                  <a:moveTo>
                    <a:pt x="55" y="70"/>
                  </a:moveTo>
                  <a:cubicBezTo>
                    <a:pt x="62" y="66"/>
                    <a:pt x="70" y="61"/>
                    <a:pt x="76" y="57"/>
                  </a:cubicBezTo>
                  <a:cubicBezTo>
                    <a:pt x="82" y="52"/>
                    <a:pt x="90" y="40"/>
                    <a:pt x="90" y="36"/>
                  </a:cubicBezTo>
                  <a:cubicBezTo>
                    <a:pt x="81" y="25"/>
                    <a:pt x="82" y="14"/>
                    <a:pt x="82" y="4"/>
                  </a:cubicBezTo>
                  <a:cubicBezTo>
                    <a:pt x="82" y="2"/>
                    <a:pt x="79" y="0"/>
                    <a:pt x="75" y="2"/>
                  </a:cubicBezTo>
                  <a:cubicBezTo>
                    <a:pt x="64" y="7"/>
                    <a:pt x="51" y="11"/>
                    <a:pt x="51" y="11"/>
                  </a:cubicBezTo>
                  <a:cubicBezTo>
                    <a:pt x="51" y="11"/>
                    <a:pt x="48" y="27"/>
                    <a:pt x="52" y="30"/>
                  </a:cubicBezTo>
                  <a:cubicBezTo>
                    <a:pt x="56" y="34"/>
                    <a:pt x="64" y="33"/>
                    <a:pt x="63" y="39"/>
                  </a:cubicBezTo>
                  <a:cubicBezTo>
                    <a:pt x="63" y="42"/>
                    <a:pt x="57" y="48"/>
                    <a:pt x="54" y="51"/>
                  </a:cubicBezTo>
                  <a:cubicBezTo>
                    <a:pt x="48" y="56"/>
                    <a:pt x="41" y="60"/>
                    <a:pt x="37" y="62"/>
                  </a:cubicBezTo>
                  <a:cubicBezTo>
                    <a:pt x="37" y="62"/>
                    <a:pt x="27" y="58"/>
                    <a:pt x="12" y="59"/>
                  </a:cubicBezTo>
                  <a:cubicBezTo>
                    <a:pt x="6" y="60"/>
                    <a:pt x="6" y="64"/>
                    <a:pt x="6" y="64"/>
                  </a:cubicBezTo>
                  <a:cubicBezTo>
                    <a:pt x="6" y="64"/>
                    <a:pt x="4" y="64"/>
                    <a:pt x="2" y="65"/>
                  </a:cubicBezTo>
                  <a:cubicBezTo>
                    <a:pt x="1" y="66"/>
                    <a:pt x="0" y="67"/>
                    <a:pt x="0" y="67"/>
                  </a:cubicBezTo>
                  <a:cubicBezTo>
                    <a:pt x="0" y="67"/>
                    <a:pt x="1" y="69"/>
                    <a:pt x="3" y="70"/>
                  </a:cubicBezTo>
                  <a:cubicBezTo>
                    <a:pt x="4" y="70"/>
                    <a:pt x="6" y="70"/>
                    <a:pt x="6" y="70"/>
                  </a:cubicBezTo>
                  <a:cubicBezTo>
                    <a:pt x="7" y="72"/>
                    <a:pt x="9" y="74"/>
                    <a:pt x="11" y="75"/>
                  </a:cubicBezTo>
                  <a:cubicBezTo>
                    <a:pt x="19" y="76"/>
                    <a:pt x="23" y="75"/>
                    <a:pt x="27" y="74"/>
                  </a:cubicBezTo>
                  <a:cubicBezTo>
                    <a:pt x="30" y="74"/>
                    <a:pt x="31" y="74"/>
                    <a:pt x="32" y="76"/>
                  </a:cubicBezTo>
                  <a:cubicBezTo>
                    <a:pt x="32" y="77"/>
                    <a:pt x="31" y="79"/>
                    <a:pt x="29" y="80"/>
                  </a:cubicBezTo>
                  <a:cubicBezTo>
                    <a:pt x="24" y="83"/>
                    <a:pt x="20" y="85"/>
                    <a:pt x="17" y="88"/>
                  </a:cubicBezTo>
                  <a:cubicBezTo>
                    <a:pt x="15" y="91"/>
                    <a:pt x="14" y="95"/>
                    <a:pt x="15" y="98"/>
                  </a:cubicBezTo>
                  <a:cubicBezTo>
                    <a:pt x="15" y="98"/>
                    <a:pt x="14" y="100"/>
                    <a:pt x="13" y="101"/>
                  </a:cubicBezTo>
                  <a:cubicBezTo>
                    <a:pt x="13" y="103"/>
                    <a:pt x="13" y="104"/>
                    <a:pt x="14" y="106"/>
                  </a:cubicBezTo>
                  <a:cubicBezTo>
                    <a:pt x="15" y="106"/>
                    <a:pt x="16" y="106"/>
                    <a:pt x="17" y="105"/>
                  </a:cubicBezTo>
                  <a:cubicBezTo>
                    <a:pt x="18" y="105"/>
                    <a:pt x="19" y="104"/>
                    <a:pt x="20" y="103"/>
                  </a:cubicBezTo>
                  <a:cubicBezTo>
                    <a:pt x="23" y="104"/>
                    <a:pt x="27" y="103"/>
                    <a:pt x="30" y="99"/>
                  </a:cubicBezTo>
                  <a:cubicBezTo>
                    <a:pt x="32" y="95"/>
                    <a:pt x="35" y="89"/>
                    <a:pt x="35" y="87"/>
                  </a:cubicBezTo>
                  <a:cubicBezTo>
                    <a:pt x="36" y="85"/>
                    <a:pt x="37" y="84"/>
                    <a:pt x="39" y="84"/>
                  </a:cubicBezTo>
                  <a:cubicBezTo>
                    <a:pt x="40" y="85"/>
                    <a:pt x="41" y="85"/>
                    <a:pt x="40" y="89"/>
                  </a:cubicBezTo>
                  <a:cubicBezTo>
                    <a:pt x="40" y="92"/>
                    <a:pt x="40" y="98"/>
                    <a:pt x="40" y="101"/>
                  </a:cubicBezTo>
                  <a:cubicBezTo>
                    <a:pt x="42" y="110"/>
                    <a:pt x="47" y="110"/>
                    <a:pt x="47" y="110"/>
                  </a:cubicBezTo>
                  <a:cubicBezTo>
                    <a:pt x="47" y="110"/>
                    <a:pt x="48" y="111"/>
                    <a:pt x="49" y="113"/>
                  </a:cubicBezTo>
                  <a:cubicBezTo>
                    <a:pt x="50" y="114"/>
                    <a:pt x="51" y="115"/>
                    <a:pt x="52" y="115"/>
                  </a:cubicBezTo>
                  <a:cubicBezTo>
                    <a:pt x="53" y="114"/>
                    <a:pt x="54" y="112"/>
                    <a:pt x="53" y="110"/>
                  </a:cubicBezTo>
                  <a:cubicBezTo>
                    <a:pt x="53" y="109"/>
                    <a:pt x="53" y="108"/>
                    <a:pt x="53" y="108"/>
                  </a:cubicBezTo>
                  <a:cubicBezTo>
                    <a:pt x="54" y="107"/>
                    <a:pt x="56" y="105"/>
                    <a:pt x="55" y="101"/>
                  </a:cubicBezTo>
                  <a:cubicBezTo>
                    <a:pt x="53" y="94"/>
                    <a:pt x="51" y="90"/>
                    <a:pt x="49" y="87"/>
                  </a:cubicBezTo>
                  <a:cubicBezTo>
                    <a:pt x="47" y="85"/>
                    <a:pt x="48" y="84"/>
                    <a:pt x="49" y="83"/>
                  </a:cubicBezTo>
                  <a:cubicBezTo>
                    <a:pt x="50" y="82"/>
                    <a:pt x="52" y="82"/>
                    <a:pt x="54" y="85"/>
                  </a:cubicBezTo>
                  <a:cubicBezTo>
                    <a:pt x="56" y="87"/>
                    <a:pt x="58" y="91"/>
                    <a:pt x="63" y="93"/>
                  </a:cubicBezTo>
                  <a:cubicBezTo>
                    <a:pt x="67" y="95"/>
                    <a:pt x="69" y="94"/>
                    <a:pt x="71" y="93"/>
                  </a:cubicBezTo>
                  <a:cubicBezTo>
                    <a:pt x="71" y="93"/>
                    <a:pt x="72" y="94"/>
                    <a:pt x="74" y="94"/>
                  </a:cubicBezTo>
                  <a:cubicBezTo>
                    <a:pt x="75" y="95"/>
                    <a:pt x="76" y="95"/>
                    <a:pt x="78" y="95"/>
                  </a:cubicBezTo>
                  <a:cubicBezTo>
                    <a:pt x="77" y="93"/>
                    <a:pt x="77" y="92"/>
                    <a:pt x="76" y="91"/>
                  </a:cubicBezTo>
                  <a:cubicBezTo>
                    <a:pt x="76" y="89"/>
                    <a:pt x="75" y="89"/>
                    <a:pt x="74" y="88"/>
                  </a:cubicBezTo>
                  <a:cubicBezTo>
                    <a:pt x="75" y="86"/>
                    <a:pt x="74" y="82"/>
                    <a:pt x="73" y="81"/>
                  </a:cubicBezTo>
                  <a:cubicBezTo>
                    <a:pt x="67" y="75"/>
                    <a:pt x="55" y="70"/>
                    <a:pt x="55" y="7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10"/>
            <p:cNvSpPr>
              <a:spLocks noEditPoints="1"/>
            </p:cNvSpPr>
            <p:nvPr/>
          </p:nvSpPr>
          <p:spPr bwMode="auto">
            <a:xfrm>
              <a:off x="-7158" y="10674"/>
              <a:ext cx="541" cy="548"/>
            </a:xfrm>
            <a:custGeom>
              <a:avLst/>
              <a:gdLst>
                <a:gd name="T0" fmla="*/ 136 w 286"/>
                <a:gd name="T1" fmla="*/ 15 h 290"/>
                <a:gd name="T2" fmla="*/ 283 w 286"/>
                <a:gd name="T3" fmla="*/ 263 h 290"/>
                <a:gd name="T4" fmla="*/ 275 w 286"/>
                <a:gd name="T5" fmla="*/ 186 h 290"/>
                <a:gd name="T6" fmla="*/ 258 w 286"/>
                <a:gd name="T7" fmla="*/ 173 h 290"/>
                <a:gd name="T8" fmla="*/ 263 w 286"/>
                <a:gd name="T9" fmla="*/ 134 h 290"/>
                <a:gd name="T10" fmla="*/ 212 w 286"/>
                <a:gd name="T11" fmla="*/ 71 h 290"/>
                <a:gd name="T12" fmla="*/ 216 w 286"/>
                <a:gd name="T13" fmla="*/ 45 h 290"/>
                <a:gd name="T14" fmla="*/ 276 w 286"/>
                <a:gd name="T15" fmla="*/ 22 h 290"/>
                <a:gd name="T16" fmla="*/ 212 w 286"/>
                <a:gd name="T17" fmla="*/ 38 h 290"/>
                <a:gd name="T18" fmla="*/ 201 w 286"/>
                <a:gd name="T19" fmla="*/ 72 h 290"/>
                <a:gd name="T20" fmla="*/ 242 w 286"/>
                <a:gd name="T21" fmla="*/ 133 h 290"/>
                <a:gd name="T22" fmla="*/ 147 w 286"/>
                <a:gd name="T23" fmla="*/ 110 h 290"/>
                <a:gd name="T24" fmla="*/ 169 w 286"/>
                <a:gd name="T25" fmla="*/ 107 h 290"/>
                <a:gd name="T26" fmla="*/ 167 w 286"/>
                <a:gd name="T27" fmla="*/ 65 h 290"/>
                <a:gd name="T28" fmla="*/ 178 w 286"/>
                <a:gd name="T29" fmla="*/ 49 h 290"/>
                <a:gd name="T30" fmla="*/ 157 w 286"/>
                <a:gd name="T31" fmla="*/ 13 h 290"/>
                <a:gd name="T32" fmla="*/ 143 w 286"/>
                <a:gd name="T33" fmla="*/ 3 h 290"/>
                <a:gd name="T34" fmla="*/ 95 w 286"/>
                <a:gd name="T35" fmla="*/ 17 h 290"/>
                <a:gd name="T36" fmla="*/ 131 w 286"/>
                <a:gd name="T37" fmla="*/ 39 h 290"/>
                <a:gd name="T38" fmla="*/ 104 w 286"/>
                <a:gd name="T39" fmla="*/ 64 h 290"/>
                <a:gd name="T40" fmla="*/ 99 w 286"/>
                <a:gd name="T41" fmla="*/ 90 h 290"/>
                <a:gd name="T42" fmla="*/ 46 w 286"/>
                <a:gd name="T43" fmla="*/ 88 h 290"/>
                <a:gd name="T44" fmla="*/ 28 w 286"/>
                <a:gd name="T45" fmla="*/ 63 h 290"/>
                <a:gd name="T46" fmla="*/ 26 w 286"/>
                <a:gd name="T47" fmla="*/ 69 h 290"/>
                <a:gd name="T48" fmla="*/ 35 w 286"/>
                <a:gd name="T49" fmla="*/ 94 h 290"/>
                <a:gd name="T50" fmla="*/ 7 w 286"/>
                <a:gd name="T51" fmla="*/ 92 h 290"/>
                <a:gd name="T52" fmla="*/ 2 w 286"/>
                <a:gd name="T53" fmla="*/ 97 h 290"/>
                <a:gd name="T54" fmla="*/ 27 w 286"/>
                <a:gd name="T55" fmla="*/ 103 h 290"/>
                <a:gd name="T56" fmla="*/ 18 w 286"/>
                <a:gd name="T57" fmla="*/ 114 h 290"/>
                <a:gd name="T58" fmla="*/ 13 w 286"/>
                <a:gd name="T59" fmla="*/ 133 h 290"/>
                <a:gd name="T60" fmla="*/ 26 w 286"/>
                <a:gd name="T61" fmla="*/ 127 h 290"/>
                <a:gd name="T62" fmla="*/ 39 w 286"/>
                <a:gd name="T63" fmla="*/ 117 h 290"/>
                <a:gd name="T64" fmla="*/ 42 w 286"/>
                <a:gd name="T65" fmla="*/ 139 h 290"/>
                <a:gd name="T66" fmla="*/ 48 w 286"/>
                <a:gd name="T67" fmla="*/ 136 h 290"/>
                <a:gd name="T68" fmla="*/ 78 w 286"/>
                <a:gd name="T69" fmla="*/ 134 h 290"/>
                <a:gd name="T70" fmla="*/ 105 w 286"/>
                <a:gd name="T71" fmla="*/ 174 h 290"/>
                <a:gd name="T72" fmla="*/ 76 w 286"/>
                <a:gd name="T73" fmla="*/ 226 h 290"/>
                <a:gd name="T74" fmla="*/ 38 w 286"/>
                <a:gd name="T75" fmla="*/ 229 h 290"/>
                <a:gd name="T76" fmla="*/ 42 w 286"/>
                <a:gd name="T77" fmla="*/ 234 h 290"/>
                <a:gd name="T78" fmla="*/ 68 w 286"/>
                <a:gd name="T79" fmla="*/ 239 h 290"/>
                <a:gd name="T80" fmla="*/ 51 w 286"/>
                <a:gd name="T81" fmla="*/ 261 h 290"/>
                <a:gd name="T82" fmla="*/ 53 w 286"/>
                <a:gd name="T83" fmla="*/ 269 h 290"/>
                <a:gd name="T84" fmla="*/ 71 w 286"/>
                <a:gd name="T85" fmla="*/ 251 h 290"/>
                <a:gd name="T86" fmla="*/ 76 w 286"/>
                <a:gd name="T87" fmla="*/ 264 h 290"/>
                <a:gd name="T88" fmla="*/ 88 w 286"/>
                <a:gd name="T89" fmla="*/ 279 h 290"/>
                <a:gd name="T90" fmla="*/ 91 w 286"/>
                <a:gd name="T91" fmla="*/ 264 h 290"/>
                <a:gd name="T92" fmla="*/ 90 w 286"/>
                <a:gd name="T93" fmla="*/ 248 h 290"/>
                <a:gd name="T94" fmla="*/ 110 w 286"/>
                <a:gd name="T95" fmla="*/ 258 h 290"/>
                <a:gd name="T96" fmla="*/ 110 w 286"/>
                <a:gd name="T97" fmla="*/ 252 h 290"/>
                <a:gd name="T98" fmla="*/ 119 w 286"/>
                <a:gd name="T99" fmla="*/ 213 h 290"/>
                <a:gd name="T100" fmla="*/ 218 w 286"/>
                <a:gd name="T101" fmla="*/ 156 h 290"/>
                <a:gd name="T102" fmla="*/ 245 w 286"/>
                <a:gd name="T103" fmla="*/ 237 h 290"/>
                <a:gd name="T104" fmla="*/ 211 w 286"/>
                <a:gd name="T105" fmla="*/ 240 h 290"/>
                <a:gd name="T106" fmla="*/ 214 w 286"/>
                <a:gd name="T107" fmla="*/ 245 h 290"/>
                <a:gd name="T108" fmla="*/ 240 w 286"/>
                <a:gd name="T109" fmla="*/ 251 h 290"/>
                <a:gd name="T110" fmla="*/ 223 w 286"/>
                <a:gd name="T111" fmla="*/ 272 h 290"/>
                <a:gd name="T112" fmla="*/ 225 w 286"/>
                <a:gd name="T113" fmla="*/ 280 h 290"/>
                <a:gd name="T114" fmla="*/ 244 w 286"/>
                <a:gd name="T115" fmla="*/ 262 h 290"/>
                <a:gd name="T116" fmla="*/ 248 w 286"/>
                <a:gd name="T117" fmla="*/ 275 h 290"/>
                <a:gd name="T118" fmla="*/ 261 w 286"/>
                <a:gd name="T119" fmla="*/ 290 h 290"/>
                <a:gd name="T120" fmla="*/ 263 w 286"/>
                <a:gd name="T121" fmla="*/ 275 h 290"/>
                <a:gd name="T122" fmla="*/ 262 w 286"/>
                <a:gd name="T123" fmla="*/ 259 h 290"/>
                <a:gd name="T124" fmla="*/ 282 w 286"/>
                <a:gd name="T125" fmla="*/ 269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86" h="290">
                  <a:moveTo>
                    <a:pt x="137" y="25"/>
                  </a:moveTo>
                  <a:cubicBezTo>
                    <a:pt x="132" y="29"/>
                    <a:pt x="124" y="18"/>
                    <a:pt x="124" y="18"/>
                  </a:cubicBezTo>
                  <a:cubicBezTo>
                    <a:pt x="128" y="14"/>
                    <a:pt x="132" y="11"/>
                    <a:pt x="136" y="15"/>
                  </a:cubicBezTo>
                  <a:cubicBezTo>
                    <a:pt x="139" y="18"/>
                    <a:pt x="141" y="23"/>
                    <a:pt x="137" y="25"/>
                  </a:cubicBezTo>
                  <a:close/>
                  <a:moveTo>
                    <a:pt x="285" y="265"/>
                  </a:moveTo>
                  <a:cubicBezTo>
                    <a:pt x="284" y="264"/>
                    <a:pt x="283" y="263"/>
                    <a:pt x="283" y="263"/>
                  </a:cubicBezTo>
                  <a:cubicBezTo>
                    <a:pt x="283" y="261"/>
                    <a:pt x="285" y="257"/>
                    <a:pt x="278" y="252"/>
                  </a:cubicBezTo>
                  <a:cubicBezTo>
                    <a:pt x="269" y="246"/>
                    <a:pt x="262" y="244"/>
                    <a:pt x="262" y="244"/>
                  </a:cubicBezTo>
                  <a:cubicBezTo>
                    <a:pt x="268" y="229"/>
                    <a:pt x="275" y="210"/>
                    <a:pt x="275" y="186"/>
                  </a:cubicBezTo>
                  <a:cubicBezTo>
                    <a:pt x="275" y="180"/>
                    <a:pt x="273" y="174"/>
                    <a:pt x="272" y="169"/>
                  </a:cubicBezTo>
                  <a:cubicBezTo>
                    <a:pt x="272" y="163"/>
                    <a:pt x="267" y="164"/>
                    <a:pt x="265" y="167"/>
                  </a:cubicBezTo>
                  <a:cubicBezTo>
                    <a:pt x="263" y="169"/>
                    <a:pt x="261" y="172"/>
                    <a:pt x="258" y="173"/>
                  </a:cubicBezTo>
                  <a:cubicBezTo>
                    <a:pt x="254" y="173"/>
                    <a:pt x="251" y="168"/>
                    <a:pt x="250" y="165"/>
                  </a:cubicBezTo>
                  <a:cubicBezTo>
                    <a:pt x="248" y="158"/>
                    <a:pt x="248" y="150"/>
                    <a:pt x="246" y="143"/>
                  </a:cubicBezTo>
                  <a:cubicBezTo>
                    <a:pt x="253" y="142"/>
                    <a:pt x="258" y="138"/>
                    <a:pt x="263" y="134"/>
                  </a:cubicBezTo>
                  <a:cubicBezTo>
                    <a:pt x="272" y="126"/>
                    <a:pt x="272" y="114"/>
                    <a:pt x="267" y="104"/>
                  </a:cubicBezTo>
                  <a:cubicBezTo>
                    <a:pt x="263" y="97"/>
                    <a:pt x="258" y="94"/>
                    <a:pt x="233" y="85"/>
                  </a:cubicBezTo>
                  <a:cubicBezTo>
                    <a:pt x="224" y="81"/>
                    <a:pt x="217" y="77"/>
                    <a:pt x="212" y="71"/>
                  </a:cubicBezTo>
                  <a:cubicBezTo>
                    <a:pt x="210" y="69"/>
                    <a:pt x="208" y="66"/>
                    <a:pt x="207" y="64"/>
                  </a:cubicBezTo>
                  <a:cubicBezTo>
                    <a:pt x="204" y="59"/>
                    <a:pt x="206" y="53"/>
                    <a:pt x="210" y="49"/>
                  </a:cubicBezTo>
                  <a:cubicBezTo>
                    <a:pt x="211" y="48"/>
                    <a:pt x="213" y="47"/>
                    <a:pt x="216" y="45"/>
                  </a:cubicBezTo>
                  <a:cubicBezTo>
                    <a:pt x="223" y="50"/>
                    <a:pt x="244" y="47"/>
                    <a:pt x="252" y="45"/>
                  </a:cubicBezTo>
                  <a:cubicBezTo>
                    <a:pt x="261" y="41"/>
                    <a:pt x="268" y="37"/>
                    <a:pt x="274" y="34"/>
                  </a:cubicBezTo>
                  <a:cubicBezTo>
                    <a:pt x="281" y="30"/>
                    <a:pt x="280" y="22"/>
                    <a:pt x="276" y="22"/>
                  </a:cubicBezTo>
                  <a:cubicBezTo>
                    <a:pt x="276" y="22"/>
                    <a:pt x="252" y="32"/>
                    <a:pt x="248" y="28"/>
                  </a:cubicBezTo>
                  <a:cubicBezTo>
                    <a:pt x="245" y="25"/>
                    <a:pt x="253" y="12"/>
                    <a:pt x="228" y="23"/>
                  </a:cubicBezTo>
                  <a:cubicBezTo>
                    <a:pt x="219" y="27"/>
                    <a:pt x="212" y="33"/>
                    <a:pt x="212" y="38"/>
                  </a:cubicBezTo>
                  <a:cubicBezTo>
                    <a:pt x="204" y="43"/>
                    <a:pt x="195" y="50"/>
                    <a:pt x="196" y="61"/>
                  </a:cubicBezTo>
                  <a:cubicBezTo>
                    <a:pt x="197" y="64"/>
                    <a:pt x="199" y="68"/>
                    <a:pt x="201" y="72"/>
                  </a:cubicBezTo>
                  <a:lnTo>
                    <a:pt x="201" y="72"/>
                  </a:lnTo>
                  <a:cubicBezTo>
                    <a:pt x="208" y="82"/>
                    <a:pt x="222" y="89"/>
                    <a:pt x="237" y="94"/>
                  </a:cubicBezTo>
                  <a:cubicBezTo>
                    <a:pt x="251" y="99"/>
                    <a:pt x="256" y="101"/>
                    <a:pt x="259" y="111"/>
                  </a:cubicBezTo>
                  <a:cubicBezTo>
                    <a:pt x="262" y="123"/>
                    <a:pt x="255" y="131"/>
                    <a:pt x="242" y="133"/>
                  </a:cubicBezTo>
                  <a:cubicBezTo>
                    <a:pt x="240" y="130"/>
                    <a:pt x="238" y="128"/>
                    <a:pt x="236" y="126"/>
                  </a:cubicBezTo>
                  <a:cubicBezTo>
                    <a:pt x="217" y="106"/>
                    <a:pt x="161" y="139"/>
                    <a:pt x="150" y="123"/>
                  </a:cubicBezTo>
                  <a:cubicBezTo>
                    <a:pt x="147" y="119"/>
                    <a:pt x="147" y="115"/>
                    <a:pt x="147" y="110"/>
                  </a:cubicBezTo>
                  <a:cubicBezTo>
                    <a:pt x="148" y="106"/>
                    <a:pt x="151" y="102"/>
                    <a:pt x="155" y="102"/>
                  </a:cubicBezTo>
                  <a:cubicBezTo>
                    <a:pt x="159" y="103"/>
                    <a:pt x="160" y="107"/>
                    <a:pt x="162" y="109"/>
                  </a:cubicBezTo>
                  <a:cubicBezTo>
                    <a:pt x="163" y="111"/>
                    <a:pt x="169" y="112"/>
                    <a:pt x="169" y="107"/>
                  </a:cubicBezTo>
                  <a:cubicBezTo>
                    <a:pt x="170" y="101"/>
                    <a:pt x="171" y="96"/>
                    <a:pt x="169" y="89"/>
                  </a:cubicBezTo>
                  <a:cubicBezTo>
                    <a:pt x="168" y="81"/>
                    <a:pt x="162" y="72"/>
                    <a:pt x="162" y="72"/>
                  </a:cubicBezTo>
                  <a:cubicBezTo>
                    <a:pt x="163" y="69"/>
                    <a:pt x="165" y="66"/>
                    <a:pt x="167" y="65"/>
                  </a:cubicBezTo>
                  <a:cubicBezTo>
                    <a:pt x="171" y="65"/>
                    <a:pt x="174" y="69"/>
                    <a:pt x="176" y="70"/>
                  </a:cubicBezTo>
                  <a:cubicBezTo>
                    <a:pt x="178" y="72"/>
                    <a:pt x="183" y="72"/>
                    <a:pt x="182" y="66"/>
                  </a:cubicBezTo>
                  <a:cubicBezTo>
                    <a:pt x="182" y="60"/>
                    <a:pt x="181" y="55"/>
                    <a:pt x="178" y="49"/>
                  </a:cubicBezTo>
                  <a:cubicBezTo>
                    <a:pt x="176" y="45"/>
                    <a:pt x="173" y="43"/>
                    <a:pt x="172" y="39"/>
                  </a:cubicBezTo>
                  <a:cubicBezTo>
                    <a:pt x="171" y="34"/>
                    <a:pt x="172" y="29"/>
                    <a:pt x="170" y="25"/>
                  </a:cubicBezTo>
                  <a:cubicBezTo>
                    <a:pt x="168" y="19"/>
                    <a:pt x="162" y="15"/>
                    <a:pt x="157" y="13"/>
                  </a:cubicBezTo>
                  <a:lnTo>
                    <a:pt x="160" y="8"/>
                  </a:lnTo>
                  <a:cubicBezTo>
                    <a:pt x="162" y="6"/>
                    <a:pt x="162" y="0"/>
                    <a:pt x="156" y="1"/>
                  </a:cubicBezTo>
                  <a:cubicBezTo>
                    <a:pt x="152" y="2"/>
                    <a:pt x="148" y="3"/>
                    <a:pt x="143" y="3"/>
                  </a:cubicBezTo>
                  <a:cubicBezTo>
                    <a:pt x="136" y="3"/>
                    <a:pt x="118" y="1"/>
                    <a:pt x="115" y="8"/>
                  </a:cubicBezTo>
                  <a:cubicBezTo>
                    <a:pt x="114" y="11"/>
                    <a:pt x="114" y="12"/>
                    <a:pt x="114" y="15"/>
                  </a:cubicBezTo>
                  <a:cubicBezTo>
                    <a:pt x="107" y="15"/>
                    <a:pt x="102" y="14"/>
                    <a:pt x="95" y="17"/>
                  </a:cubicBezTo>
                  <a:cubicBezTo>
                    <a:pt x="93" y="18"/>
                    <a:pt x="89" y="20"/>
                    <a:pt x="95" y="26"/>
                  </a:cubicBezTo>
                  <a:cubicBezTo>
                    <a:pt x="93" y="32"/>
                    <a:pt x="96" y="37"/>
                    <a:pt x="99" y="39"/>
                  </a:cubicBezTo>
                  <a:cubicBezTo>
                    <a:pt x="110" y="33"/>
                    <a:pt x="125" y="34"/>
                    <a:pt x="131" y="39"/>
                  </a:cubicBezTo>
                  <a:cubicBezTo>
                    <a:pt x="135" y="43"/>
                    <a:pt x="131" y="50"/>
                    <a:pt x="129" y="53"/>
                  </a:cubicBezTo>
                  <a:cubicBezTo>
                    <a:pt x="124" y="52"/>
                    <a:pt x="111" y="51"/>
                    <a:pt x="102" y="55"/>
                  </a:cubicBezTo>
                  <a:cubicBezTo>
                    <a:pt x="100" y="57"/>
                    <a:pt x="103" y="62"/>
                    <a:pt x="104" y="64"/>
                  </a:cubicBezTo>
                  <a:cubicBezTo>
                    <a:pt x="115" y="60"/>
                    <a:pt x="126" y="64"/>
                    <a:pt x="126" y="64"/>
                  </a:cubicBezTo>
                  <a:cubicBezTo>
                    <a:pt x="126" y="64"/>
                    <a:pt x="123" y="70"/>
                    <a:pt x="117" y="76"/>
                  </a:cubicBezTo>
                  <a:cubicBezTo>
                    <a:pt x="111" y="80"/>
                    <a:pt x="106" y="83"/>
                    <a:pt x="99" y="90"/>
                  </a:cubicBezTo>
                  <a:cubicBezTo>
                    <a:pt x="92" y="97"/>
                    <a:pt x="87" y="103"/>
                    <a:pt x="84" y="109"/>
                  </a:cubicBezTo>
                  <a:cubicBezTo>
                    <a:pt x="75" y="107"/>
                    <a:pt x="66" y="105"/>
                    <a:pt x="62" y="102"/>
                  </a:cubicBezTo>
                  <a:cubicBezTo>
                    <a:pt x="56" y="98"/>
                    <a:pt x="52" y="95"/>
                    <a:pt x="46" y="88"/>
                  </a:cubicBezTo>
                  <a:cubicBezTo>
                    <a:pt x="46" y="85"/>
                    <a:pt x="46" y="77"/>
                    <a:pt x="39" y="68"/>
                  </a:cubicBezTo>
                  <a:cubicBezTo>
                    <a:pt x="36" y="64"/>
                    <a:pt x="30" y="66"/>
                    <a:pt x="30" y="66"/>
                  </a:cubicBezTo>
                  <a:cubicBezTo>
                    <a:pt x="30" y="66"/>
                    <a:pt x="29" y="64"/>
                    <a:pt x="28" y="63"/>
                  </a:cubicBezTo>
                  <a:cubicBezTo>
                    <a:pt x="27" y="62"/>
                    <a:pt x="24" y="62"/>
                    <a:pt x="24" y="62"/>
                  </a:cubicBezTo>
                  <a:cubicBezTo>
                    <a:pt x="24" y="62"/>
                    <a:pt x="24" y="64"/>
                    <a:pt x="24" y="66"/>
                  </a:cubicBezTo>
                  <a:cubicBezTo>
                    <a:pt x="24" y="67"/>
                    <a:pt x="26" y="69"/>
                    <a:pt x="26" y="69"/>
                  </a:cubicBezTo>
                  <a:cubicBezTo>
                    <a:pt x="24" y="71"/>
                    <a:pt x="23" y="73"/>
                    <a:pt x="25" y="76"/>
                  </a:cubicBezTo>
                  <a:cubicBezTo>
                    <a:pt x="28" y="83"/>
                    <a:pt x="31" y="86"/>
                    <a:pt x="34" y="89"/>
                  </a:cubicBezTo>
                  <a:cubicBezTo>
                    <a:pt x="35" y="91"/>
                    <a:pt x="36" y="92"/>
                    <a:pt x="35" y="94"/>
                  </a:cubicBezTo>
                  <a:cubicBezTo>
                    <a:pt x="34" y="95"/>
                    <a:pt x="32" y="95"/>
                    <a:pt x="30" y="94"/>
                  </a:cubicBezTo>
                  <a:cubicBezTo>
                    <a:pt x="24" y="91"/>
                    <a:pt x="20" y="89"/>
                    <a:pt x="17" y="88"/>
                  </a:cubicBezTo>
                  <a:cubicBezTo>
                    <a:pt x="13" y="88"/>
                    <a:pt x="9" y="89"/>
                    <a:pt x="7" y="92"/>
                  </a:cubicBezTo>
                  <a:cubicBezTo>
                    <a:pt x="6" y="92"/>
                    <a:pt x="5" y="91"/>
                    <a:pt x="4" y="92"/>
                  </a:cubicBezTo>
                  <a:cubicBezTo>
                    <a:pt x="2" y="92"/>
                    <a:pt x="1" y="93"/>
                    <a:pt x="0" y="94"/>
                  </a:cubicBezTo>
                  <a:cubicBezTo>
                    <a:pt x="0" y="95"/>
                    <a:pt x="1" y="96"/>
                    <a:pt x="2" y="97"/>
                  </a:cubicBezTo>
                  <a:cubicBezTo>
                    <a:pt x="3" y="98"/>
                    <a:pt x="4" y="98"/>
                    <a:pt x="6" y="98"/>
                  </a:cubicBezTo>
                  <a:cubicBezTo>
                    <a:pt x="7" y="101"/>
                    <a:pt x="9" y="104"/>
                    <a:pt x="14" y="104"/>
                  </a:cubicBezTo>
                  <a:cubicBezTo>
                    <a:pt x="18" y="104"/>
                    <a:pt x="25" y="104"/>
                    <a:pt x="27" y="103"/>
                  </a:cubicBezTo>
                  <a:cubicBezTo>
                    <a:pt x="30" y="102"/>
                    <a:pt x="31" y="103"/>
                    <a:pt x="31" y="104"/>
                  </a:cubicBezTo>
                  <a:cubicBezTo>
                    <a:pt x="32" y="105"/>
                    <a:pt x="32" y="107"/>
                    <a:pt x="28" y="108"/>
                  </a:cubicBezTo>
                  <a:cubicBezTo>
                    <a:pt x="25" y="109"/>
                    <a:pt x="20" y="112"/>
                    <a:pt x="18" y="114"/>
                  </a:cubicBezTo>
                  <a:cubicBezTo>
                    <a:pt x="11" y="121"/>
                    <a:pt x="15" y="125"/>
                    <a:pt x="15" y="125"/>
                  </a:cubicBezTo>
                  <a:cubicBezTo>
                    <a:pt x="15" y="125"/>
                    <a:pt x="13" y="126"/>
                    <a:pt x="13" y="128"/>
                  </a:cubicBezTo>
                  <a:cubicBezTo>
                    <a:pt x="12" y="130"/>
                    <a:pt x="12" y="131"/>
                    <a:pt x="13" y="133"/>
                  </a:cubicBezTo>
                  <a:cubicBezTo>
                    <a:pt x="14" y="132"/>
                    <a:pt x="16" y="132"/>
                    <a:pt x="17" y="131"/>
                  </a:cubicBezTo>
                  <a:cubicBezTo>
                    <a:pt x="18" y="130"/>
                    <a:pt x="19" y="129"/>
                    <a:pt x="19" y="129"/>
                  </a:cubicBezTo>
                  <a:cubicBezTo>
                    <a:pt x="21" y="129"/>
                    <a:pt x="23" y="130"/>
                    <a:pt x="26" y="127"/>
                  </a:cubicBezTo>
                  <a:cubicBezTo>
                    <a:pt x="31" y="122"/>
                    <a:pt x="33" y="118"/>
                    <a:pt x="34" y="114"/>
                  </a:cubicBezTo>
                  <a:cubicBezTo>
                    <a:pt x="35" y="112"/>
                    <a:pt x="37" y="112"/>
                    <a:pt x="38" y="112"/>
                  </a:cubicBezTo>
                  <a:cubicBezTo>
                    <a:pt x="40" y="113"/>
                    <a:pt x="40" y="115"/>
                    <a:pt x="39" y="117"/>
                  </a:cubicBezTo>
                  <a:cubicBezTo>
                    <a:pt x="38" y="120"/>
                    <a:pt x="36" y="124"/>
                    <a:pt x="37" y="130"/>
                  </a:cubicBezTo>
                  <a:cubicBezTo>
                    <a:pt x="37" y="133"/>
                    <a:pt x="39" y="135"/>
                    <a:pt x="41" y="136"/>
                  </a:cubicBezTo>
                  <a:cubicBezTo>
                    <a:pt x="41" y="136"/>
                    <a:pt x="41" y="138"/>
                    <a:pt x="42" y="139"/>
                  </a:cubicBezTo>
                  <a:cubicBezTo>
                    <a:pt x="42" y="140"/>
                    <a:pt x="43" y="141"/>
                    <a:pt x="44" y="143"/>
                  </a:cubicBezTo>
                  <a:cubicBezTo>
                    <a:pt x="45" y="142"/>
                    <a:pt x="46" y="141"/>
                    <a:pt x="46" y="140"/>
                  </a:cubicBezTo>
                  <a:cubicBezTo>
                    <a:pt x="47" y="138"/>
                    <a:pt x="47" y="137"/>
                    <a:pt x="48" y="136"/>
                  </a:cubicBezTo>
                  <a:cubicBezTo>
                    <a:pt x="49" y="135"/>
                    <a:pt x="52" y="133"/>
                    <a:pt x="53" y="131"/>
                  </a:cubicBezTo>
                  <a:cubicBezTo>
                    <a:pt x="54" y="124"/>
                    <a:pt x="53" y="118"/>
                    <a:pt x="52" y="115"/>
                  </a:cubicBezTo>
                  <a:cubicBezTo>
                    <a:pt x="60" y="122"/>
                    <a:pt x="71" y="132"/>
                    <a:pt x="78" y="134"/>
                  </a:cubicBezTo>
                  <a:cubicBezTo>
                    <a:pt x="78" y="134"/>
                    <a:pt x="78" y="135"/>
                    <a:pt x="79" y="135"/>
                  </a:cubicBezTo>
                  <a:cubicBezTo>
                    <a:pt x="80" y="145"/>
                    <a:pt x="85" y="155"/>
                    <a:pt x="88" y="159"/>
                  </a:cubicBezTo>
                  <a:cubicBezTo>
                    <a:pt x="95" y="168"/>
                    <a:pt x="101" y="171"/>
                    <a:pt x="105" y="174"/>
                  </a:cubicBezTo>
                  <a:cubicBezTo>
                    <a:pt x="107" y="176"/>
                    <a:pt x="110" y="177"/>
                    <a:pt x="108" y="185"/>
                  </a:cubicBezTo>
                  <a:cubicBezTo>
                    <a:pt x="107" y="192"/>
                    <a:pt x="103" y="200"/>
                    <a:pt x="99" y="206"/>
                  </a:cubicBezTo>
                  <a:cubicBezTo>
                    <a:pt x="93" y="214"/>
                    <a:pt x="76" y="226"/>
                    <a:pt x="76" y="226"/>
                  </a:cubicBezTo>
                  <a:cubicBezTo>
                    <a:pt x="76" y="226"/>
                    <a:pt x="63" y="221"/>
                    <a:pt x="48" y="223"/>
                  </a:cubicBezTo>
                  <a:cubicBezTo>
                    <a:pt x="43" y="223"/>
                    <a:pt x="42" y="228"/>
                    <a:pt x="42" y="228"/>
                  </a:cubicBezTo>
                  <a:cubicBezTo>
                    <a:pt x="42" y="228"/>
                    <a:pt x="40" y="228"/>
                    <a:pt x="38" y="229"/>
                  </a:cubicBezTo>
                  <a:cubicBezTo>
                    <a:pt x="37" y="229"/>
                    <a:pt x="35" y="231"/>
                    <a:pt x="35" y="231"/>
                  </a:cubicBezTo>
                  <a:cubicBezTo>
                    <a:pt x="35" y="231"/>
                    <a:pt x="37" y="233"/>
                    <a:pt x="39" y="233"/>
                  </a:cubicBezTo>
                  <a:cubicBezTo>
                    <a:pt x="40" y="234"/>
                    <a:pt x="42" y="234"/>
                    <a:pt x="42" y="234"/>
                  </a:cubicBezTo>
                  <a:cubicBezTo>
                    <a:pt x="42" y="236"/>
                    <a:pt x="44" y="238"/>
                    <a:pt x="47" y="239"/>
                  </a:cubicBezTo>
                  <a:cubicBezTo>
                    <a:pt x="55" y="240"/>
                    <a:pt x="59" y="239"/>
                    <a:pt x="63" y="238"/>
                  </a:cubicBezTo>
                  <a:cubicBezTo>
                    <a:pt x="65" y="237"/>
                    <a:pt x="67" y="238"/>
                    <a:pt x="68" y="239"/>
                  </a:cubicBezTo>
                  <a:cubicBezTo>
                    <a:pt x="68" y="241"/>
                    <a:pt x="67" y="243"/>
                    <a:pt x="65" y="243"/>
                  </a:cubicBezTo>
                  <a:cubicBezTo>
                    <a:pt x="60" y="247"/>
                    <a:pt x="56" y="249"/>
                    <a:pt x="53" y="252"/>
                  </a:cubicBezTo>
                  <a:cubicBezTo>
                    <a:pt x="51" y="255"/>
                    <a:pt x="50" y="258"/>
                    <a:pt x="51" y="261"/>
                  </a:cubicBezTo>
                  <a:cubicBezTo>
                    <a:pt x="50" y="262"/>
                    <a:pt x="50" y="263"/>
                    <a:pt x="49" y="265"/>
                  </a:cubicBezTo>
                  <a:cubicBezTo>
                    <a:pt x="49" y="266"/>
                    <a:pt x="49" y="268"/>
                    <a:pt x="49" y="269"/>
                  </a:cubicBezTo>
                  <a:cubicBezTo>
                    <a:pt x="50" y="269"/>
                    <a:pt x="52" y="269"/>
                    <a:pt x="53" y="269"/>
                  </a:cubicBezTo>
                  <a:cubicBezTo>
                    <a:pt x="54" y="268"/>
                    <a:pt x="55" y="268"/>
                    <a:pt x="56" y="266"/>
                  </a:cubicBezTo>
                  <a:cubicBezTo>
                    <a:pt x="59" y="267"/>
                    <a:pt x="63" y="267"/>
                    <a:pt x="65" y="263"/>
                  </a:cubicBezTo>
                  <a:cubicBezTo>
                    <a:pt x="68" y="259"/>
                    <a:pt x="70" y="253"/>
                    <a:pt x="71" y="251"/>
                  </a:cubicBezTo>
                  <a:cubicBezTo>
                    <a:pt x="72" y="248"/>
                    <a:pt x="73" y="248"/>
                    <a:pt x="74" y="248"/>
                  </a:cubicBezTo>
                  <a:cubicBezTo>
                    <a:pt x="76" y="248"/>
                    <a:pt x="77" y="249"/>
                    <a:pt x="76" y="253"/>
                  </a:cubicBezTo>
                  <a:cubicBezTo>
                    <a:pt x="76" y="256"/>
                    <a:pt x="76" y="262"/>
                    <a:pt x="76" y="264"/>
                  </a:cubicBezTo>
                  <a:cubicBezTo>
                    <a:pt x="78" y="274"/>
                    <a:pt x="83" y="273"/>
                    <a:pt x="83" y="273"/>
                  </a:cubicBezTo>
                  <a:cubicBezTo>
                    <a:pt x="83" y="273"/>
                    <a:pt x="83" y="275"/>
                    <a:pt x="85" y="276"/>
                  </a:cubicBezTo>
                  <a:cubicBezTo>
                    <a:pt x="86" y="278"/>
                    <a:pt x="87" y="279"/>
                    <a:pt x="88" y="279"/>
                  </a:cubicBezTo>
                  <a:cubicBezTo>
                    <a:pt x="89" y="278"/>
                    <a:pt x="89" y="276"/>
                    <a:pt x="89" y="274"/>
                  </a:cubicBezTo>
                  <a:cubicBezTo>
                    <a:pt x="89" y="273"/>
                    <a:pt x="89" y="271"/>
                    <a:pt x="89" y="271"/>
                  </a:cubicBezTo>
                  <a:cubicBezTo>
                    <a:pt x="90" y="270"/>
                    <a:pt x="92" y="268"/>
                    <a:pt x="91" y="264"/>
                  </a:cubicBezTo>
                  <a:cubicBezTo>
                    <a:pt x="89" y="257"/>
                    <a:pt x="87" y="254"/>
                    <a:pt x="85" y="251"/>
                  </a:cubicBezTo>
                  <a:cubicBezTo>
                    <a:pt x="83" y="249"/>
                    <a:pt x="84" y="248"/>
                    <a:pt x="85" y="247"/>
                  </a:cubicBezTo>
                  <a:cubicBezTo>
                    <a:pt x="86" y="246"/>
                    <a:pt x="88" y="246"/>
                    <a:pt x="90" y="248"/>
                  </a:cubicBezTo>
                  <a:cubicBezTo>
                    <a:pt x="92" y="251"/>
                    <a:pt x="94" y="255"/>
                    <a:pt x="99" y="257"/>
                  </a:cubicBezTo>
                  <a:cubicBezTo>
                    <a:pt x="103" y="259"/>
                    <a:pt x="105" y="258"/>
                    <a:pt x="107" y="257"/>
                  </a:cubicBezTo>
                  <a:cubicBezTo>
                    <a:pt x="107" y="257"/>
                    <a:pt x="108" y="258"/>
                    <a:pt x="110" y="258"/>
                  </a:cubicBezTo>
                  <a:cubicBezTo>
                    <a:pt x="111" y="258"/>
                    <a:pt x="112" y="259"/>
                    <a:pt x="114" y="258"/>
                  </a:cubicBezTo>
                  <a:cubicBezTo>
                    <a:pt x="113" y="257"/>
                    <a:pt x="113" y="256"/>
                    <a:pt x="112" y="254"/>
                  </a:cubicBezTo>
                  <a:cubicBezTo>
                    <a:pt x="112" y="253"/>
                    <a:pt x="111" y="252"/>
                    <a:pt x="110" y="252"/>
                  </a:cubicBezTo>
                  <a:cubicBezTo>
                    <a:pt x="110" y="250"/>
                    <a:pt x="110" y="246"/>
                    <a:pt x="109" y="245"/>
                  </a:cubicBezTo>
                  <a:cubicBezTo>
                    <a:pt x="104" y="240"/>
                    <a:pt x="97" y="236"/>
                    <a:pt x="95" y="235"/>
                  </a:cubicBezTo>
                  <a:cubicBezTo>
                    <a:pt x="95" y="235"/>
                    <a:pt x="105" y="230"/>
                    <a:pt x="119" y="213"/>
                  </a:cubicBezTo>
                  <a:cubicBezTo>
                    <a:pt x="126" y="204"/>
                    <a:pt x="132" y="188"/>
                    <a:pt x="135" y="185"/>
                  </a:cubicBezTo>
                  <a:cubicBezTo>
                    <a:pt x="143" y="177"/>
                    <a:pt x="154" y="179"/>
                    <a:pt x="168" y="176"/>
                  </a:cubicBezTo>
                  <a:cubicBezTo>
                    <a:pt x="215" y="164"/>
                    <a:pt x="204" y="154"/>
                    <a:pt x="218" y="156"/>
                  </a:cubicBezTo>
                  <a:cubicBezTo>
                    <a:pt x="226" y="158"/>
                    <a:pt x="224" y="176"/>
                    <a:pt x="230" y="187"/>
                  </a:cubicBezTo>
                  <a:cubicBezTo>
                    <a:pt x="235" y="197"/>
                    <a:pt x="248" y="194"/>
                    <a:pt x="250" y="204"/>
                  </a:cubicBezTo>
                  <a:cubicBezTo>
                    <a:pt x="252" y="214"/>
                    <a:pt x="248" y="231"/>
                    <a:pt x="245" y="237"/>
                  </a:cubicBezTo>
                  <a:cubicBezTo>
                    <a:pt x="242" y="236"/>
                    <a:pt x="231" y="232"/>
                    <a:pt x="220" y="234"/>
                  </a:cubicBezTo>
                  <a:cubicBezTo>
                    <a:pt x="214" y="235"/>
                    <a:pt x="214" y="239"/>
                    <a:pt x="214" y="239"/>
                  </a:cubicBezTo>
                  <a:cubicBezTo>
                    <a:pt x="214" y="239"/>
                    <a:pt x="212" y="239"/>
                    <a:pt x="211" y="240"/>
                  </a:cubicBezTo>
                  <a:cubicBezTo>
                    <a:pt x="209" y="241"/>
                    <a:pt x="208" y="242"/>
                    <a:pt x="208" y="242"/>
                  </a:cubicBezTo>
                  <a:cubicBezTo>
                    <a:pt x="208" y="242"/>
                    <a:pt x="209" y="244"/>
                    <a:pt x="211" y="244"/>
                  </a:cubicBezTo>
                  <a:cubicBezTo>
                    <a:pt x="212" y="245"/>
                    <a:pt x="214" y="245"/>
                    <a:pt x="214" y="245"/>
                  </a:cubicBezTo>
                  <a:cubicBezTo>
                    <a:pt x="215" y="247"/>
                    <a:pt x="217" y="249"/>
                    <a:pt x="220" y="250"/>
                  </a:cubicBezTo>
                  <a:cubicBezTo>
                    <a:pt x="227" y="251"/>
                    <a:pt x="232" y="250"/>
                    <a:pt x="236" y="249"/>
                  </a:cubicBezTo>
                  <a:cubicBezTo>
                    <a:pt x="238" y="248"/>
                    <a:pt x="239" y="249"/>
                    <a:pt x="240" y="251"/>
                  </a:cubicBezTo>
                  <a:cubicBezTo>
                    <a:pt x="241" y="252"/>
                    <a:pt x="239" y="254"/>
                    <a:pt x="237" y="254"/>
                  </a:cubicBezTo>
                  <a:cubicBezTo>
                    <a:pt x="232" y="258"/>
                    <a:pt x="228" y="260"/>
                    <a:pt x="226" y="263"/>
                  </a:cubicBezTo>
                  <a:cubicBezTo>
                    <a:pt x="223" y="266"/>
                    <a:pt x="222" y="269"/>
                    <a:pt x="223" y="272"/>
                  </a:cubicBezTo>
                  <a:cubicBezTo>
                    <a:pt x="223" y="273"/>
                    <a:pt x="222" y="274"/>
                    <a:pt x="222" y="276"/>
                  </a:cubicBezTo>
                  <a:cubicBezTo>
                    <a:pt x="221" y="277"/>
                    <a:pt x="221" y="279"/>
                    <a:pt x="222" y="280"/>
                  </a:cubicBezTo>
                  <a:cubicBezTo>
                    <a:pt x="223" y="280"/>
                    <a:pt x="224" y="280"/>
                    <a:pt x="225" y="280"/>
                  </a:cubicBezTo>
                  <a:cubicBezTo>
                    <a:pt x="226" y="279"/>
                    <a:pt x="227" y="279"/>
                    <a:pt x="228" y="277"/>
                  </a:cubicBezTo>
                  <a:cubicBezTo>
                    <a:pt x="231" y="278"/>
                    <a:pt x="235" y="278"/>
                    <a:pt x="238" y="274"/>
                  </a:cubicBezTo>
                  <a:cubicBezTo>
                    <a:pt x="240" y="270"/>
                    <a:pt x="243" y="264"/>
                    <a:pt x="244" y="262"/>
                  </a:cubicBezTo>
                  <a:cubicBezTo>
                    <a:pt x="244" y="259"/>
                    <a:pt x="245" y="259"/>
                    <a:pt x="247" y="259"/>
                  </a:cubicBezTo>
                  <a:cubicBezTo>
                    <a:pt x="248" y="259"/>
                    <a:pt x="249" y="260"/>
                    <a:pt x="248" y="264"/>
                  </a:cubicBezTo>
                  <a:cubicBezTo>
                    <a:pt x="248" y="267"/>
                    <a:pt x="248" y="273"/>
                    <a:pt x="248" y="275"/>
                  </a:cubicBezTo>
                  <a:cubicBezTo>
                    <a:pt x="250" y="285"/>
                    <a:pt x="255" y="284"/>
                    <a:pt x="255" y="284"/>
                  </a:cubicBezTo>
                  <a:cubicBezTo>
                    <a:pt x="255" y="284"/>
                    <a:pt x="256" y="286"/>
                    <a:pt x="257" y="287"/>
                  </a:cubicBezTo>
                  <a:cubicBezTo>
                    <a:pt x="258" y="289"/>
                    <a:pt x="259" y="290"/>
                    <a:pt x="261" y="290"/>
                  </a:cubicBezTo>
                  <a:cubicBezTo>
                    <a:pt x="261" y="289"/>
                    <a:pt x="262" y="287"/>
                    <a:pt x="262" y="285"/>
                  </a:cubicBezTo>
                  <a:cubicBezTo>
                    <a:pt x="261" y="284"/>
                    <a:pt x="261" y="282"/>
                    <a:pt x="261" y="282"/>
                  </a:cubicBezTo>
                  <a:cubicBezTo>
                    <a:pt x="262" y="281"/>
                    <a:pt x="264" y="279"/>
                    <a:pt x="263" y="275"/>
                  </a:cubicBezTo>
                  <a:cubicBezTo>
                    <a:pt x="262" y="268"/>
                    <a:pt x="259" y="265"/>
                    <a:pt x="257" y="262"/>
                  </a:cubicBezTo>
                  <a:cubicBezTo>
                    <a:pt x="256" y="260"/>
                    <a:pt x="256" y="259"/>
                    <a:pt x="257" y="258"/>
                  </a:cubicBezTo>
                  <a:cubicBezTo>
                    <a:pt x="259" y="257"/>
                    <a:pt x="260" y="257"/>
                    <a:pt x="262" y="259"/>
                  </a:cubicBezTo>
                  <a:cubicBezTo>
                    <a:pt x="264" y="262"/>
                    <a:pt x="266" y="266"/>
                    <a:pt x="271" y="268"/>
                  </a:cubicBezTo>
                  <a:cubicBezTo>
                    <a:pt x="275" y="270"/>
                    <a:pt x="277" y="269"/>
                    <a:pt x="279" y="268"/>
                  </a:cubicBezTo>
                  <a:cubicBezTo>
                    <a:pt x="279" y="268"/>
                    <a:pt x="281" y="269"/>
                    <a:pt x="282" y="269"/>
                  </a:cubicBezTo>
                  <a:cubicBezTo>
                    <a:pt x="283" y="269"/>
                    <a:pt x="284" y="270"/>
                    <a:pt x="286" y="269"/>
                  </a:cubicBezTo>
                  <a:cubicBezTo>
                    <a:pt x="286" y="268"/>
                    <a:pt x="285" y="267"/>
                    <a:pt x="285" y="26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11"/>
            <p:cNvSpPr>
              <a:spLocks/>
            </p:cNvSpPr>
            <p:nvPr/>
          </p:nvSpPr>
          <p:spPr bwMode="auto">
            <a:xfrm>
              <a:off x="-7037" y="10737"/>
              <a:ext cx="74" cy="43"/>
            </a:xfrm>
            <a:custGeom>
              <a:avLst/>
              <a:gdLst>
                <a:gd name="T0" fmla="*/ 8 w 39"/>
                <a:gd name="T1" fmla="*/ 18 h 23"/>
                <a:gd name="T2" fmla="*/ 39 w 39"/>
                <a:gd name="T3" fmla="*/ 13 h 23"/>
                <a:gd name="T4" fmla="*/ 15 w 39"/>
                <a:gd name="T5" fmla="*/ 0 h 23"/>
                <a:gd name="T6" fmla="*/ 8 w 39"/>
                <a:gd name="T7" fmla="*/ 1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23">
                  <a:moveTo>
                    <a:pt x="8" y="18"/>
                  </a:moveTo>
                  <a:cubicBezTo>
                    <a:pt x="22" y="23"/>
                    <a:pt x="39" y="15"/>
                    <a:pt x="39" y="13"/>
                  </a:cubicBezTo>
                  <a:cubicBezTo>
                    <a:pt x="18" y="16"/>
                    <a:pt x="10" y="10"/>
                    <a:pt x="15" y="0"/>
                  </a:cubicBezTo>
                  <a:cubicBezTo>
                    <a:pt x="0" y="1"/>
                    <a:pt x="1" y="15"/>
                    <a:pt x="8" y="1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12"/>
            <p:cNvSpPr>
              <a:spLocks/>
            </p:cNvSpPr>
            <p:nvPr/>
          </p:nvSpPr>
          <p:spPr bwMode="auto">
            <a:xfrm>
              <a:off x="-6330" y="10238"/>
              <a:ext cx="147" cy="55"/>
            </a:xfrm>
            <a:custGeom>
              <a:avLst/>
              <a:gdLst>
                <a:gd name="T0" fmla="*/ 78 w 78"/>
                <a:gd name="T1" fmla="*/ 24 h 29"/>
                <a:gd name="T2" fmla="*/ 52 w 78"/>
                <a:gd name="T3" fmla="*/ 18 h 29"/>
                <a:gd name="T4" fmla="*/ 20 w 78"/>
                <a:gd name="T5" fmla="*/ 0 h 29"/>
                <a:gd name="T6" fmla="*/ 21 w 78"/>
                <a:gd name="T7" fmla="*/ 29 h 29"/>
                <a:gd name="T8" fmla="*/ 78 w 78"/>
                <a:gd name="T9" fmla="*/ 2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" h="29">
                  <a:moveTo>
                    <a:pt x="78" y="24"/>
                  </a:moveTo>
                  <a:cubicBezTo>
                    <a:pt x="78" y="17"/>
                    <a:pt x="74" y="14"/>
                    <a:pt x="52" y="18"/>
                  </a:cubicBezTo>
                  <a:cubicBezTo>
                    <a:pt x="26" y="22"/>
                    <a:pt x="13" y="12"/>
                    <a:pt x="20" y="0"/>
                  </a:cubicBezTo>
                  <a:cubicBezTo>
                    <a:pt x="0" y="1"/>
                    <a:pt x="0" y="28"/>
                    <a:pt x="21" y="29"/>
                  </a:cubicBezTo>
                  <a:cubicBezTo>
                    <a:pt x="42" y="29"/>
                    <a:pt x="55" y="20"/>
                    <a:pt x="78" y="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8" name="Freeform 13"/>
            <p:cNvSpPr>
              <a:spLocks/>
            </p:cNvSpPr>
            <p:nvPr/>
          </p:nvSpPr>
          <p:spPr bwMode="auto">
            <a:xfrm>
              <a:off x="-6478" y="10744"/>
              <a:ext cx="367" cy="434"/>
            </a:xfrm>
            <a:custGeom>
              <a:avLst/>
              <a:gdLst>
                <a:gd name="T0" fmla="*/ 185 w 194"/>
                <a:gd name="T1" fmla="*/ 5 h 230"/>
                <a:gd name="T2" fmla="*/ 170 w 194"/>
                <a:gd name="T3" fmla="*/ 0 h 230"/>
                <a:gd name="T4" fmla="*/ 119 w 194"/>
                <a:gd name="T5" fmla="*/ 35 h 230"/>
                <a:gd name="T6" fmla="*/ 72 w 194"/>
                <a:gd name="T7" fmla="*/ 63 h 230"/>
                <a:gd name="T8" fmla="*/ 63 w 194"/>
                <a:gd name="T9" fmla="*/ 87 h 230"/>
                <a:gd name="T10" fmla="*/ 64 w 194"/>
                <a:gd name="T11" fmla="*/ 109 h 230"/>
                <a:gd name="T12" fmla="*/ 76 w 194"/>
                <a:gd name="T13" fmla="*/ 111 h 230"/>
                <a:gd name="T14" fmla="*/ 83 w 194"/>
                <a:gd name="T15" fmla="*/ 102 h 230"/>
                <a:gd name="T16" fmla="*/ 91 w 194"/>
                <a:gd name="T17" fmla="*/ 106 h 230"/>
                <a:gd name="T18" fmla="*/ 74 w 194"/>
                <a:gd name="T19" fmla="*/ 138 h 230"/>
                <a:gd name="T20" fmla="*/ 46 w 194"/>
                <a:gd name="T21" fmla="*/ 165 h 230"/>
                <a:gd name="T22" fmla="*/ 22 w 194"/>
                <a:gd name="T23" fmla="*/ 157 h 230"/>
                <a:gd name="T24" fmla="*/ 8 w 194"/>
                <a:gd name="T25" fmla="*/ 160 h 230"/>
                <a:gd name="T26" fmla="*/ 0 w 194"/>
                <a:gd name="T27" fmla="*/ 163 h 230"/>
                <a:gd name="T28" fmla="*/ 7 w 194"/>
                <a:gd name="T29" fmla="*/ 167 h 230"/>
                <a:gd name="T30" fmla="*/ 18 w 194"/>
                <a:gd name="T31" fmla="*/ 176 h 230"/>
                <a:gd name="T32" fmla="*/ 32 w 194"/>
                <a:gd name="T33" fmla="*/ 176 h 230"/>
                <a:gd name="T34" fmla="*/ 37 w 194"/>
                <a:gd name="T35" fmla="*/ 179 h 230"/>
                <a:gd name="T36" fmla="*/ 33 w 194"/>
                <a:gd name="T37" fmla="*/ 183 h 230"/>
                <a:gd name="T38" fmla="*/ 13 w 194"/>
                <a:gd name="T39" fmla="*/ 202 h 230"/>
                <a:gd name="T40" fmla="*/ 9 w 194"/>
                <a:gd name="T41" fmla="*/ 211 h 230"/>
                <a:gd name="T42" fmla="*/ 19 w 194"/>
                <a:gd name="T43" fmla="*/ 208 h 230"/>
                <a:gd name="T44" fmla="*/ 39 w 194"/>
                <a:gd name="T45" fmla="*/ 194 h 230"/>
                <a:gd name="T46" fmla="*/ 44 w 194"/>
                <a:gd name="T47" fmla="*/ 190 h 230"/>
                <a:gd name="T48" fmla="*/ 45 w 194"/>
                <a:gd name="T49" fmla="*/ 196 h 230"/>
                <a:gd name="T50" fmla="*/ 42 w 194"/>
                <a:gd name="T51" fmla="*/ 209 h 230"/>
                <a:gd name="T52" fmla="*/ 48 w 194"/>
                <a:gd name="T53" fmla="*/ 222 h 230"/>
                <a:gd name="T54" fmla="*/ 54 w 194"/>
                <a:gd name="T55" fmla="*/ 230 h 230"/>
                <a:gd name="T56" fmla="*/ 56 w 194"/>
                <a:gd name="T57" fmla="*/ 222 h 230"/>
                <a:gd name="T58" fmla="*/ 60 w 194"/>
                <a:gd name="T59" fmla="*/ 208 h 230"/>
                <a:gd name="T60" fmla="*/ 55 w 194"/>
                <a:gd name="T61" fmla="*/ 196 h 230"/>
                <a:gd name="T62" fmla="*/ 56 w 194"/>
                <a:gd name="T63" fmla="*/ 191 h 230"/>
                <a:gd name="T64" fmla="*/ 62 w 194"/>
                <a:gd name="T65" fmla="*/ 195 h 230"/>
                <a:gd name="T66" fmla="*/ 68 w 194"/>
                <a:gd name="T67" fmla="*/ 204 h 230"/>
                <a:gd name="T68" fmla="*/ 81 w 194"/>
                <a:gd name="T69" fmla="*/ 208 h 230"/>
                <a:gd name="T70" fmla="*/ 89 w 194"/>
                <a:gd name="T71" fmla="*/ 210 h 230"/>
                <a:gd name="T72" fmla="*/ 85 w 194"/>
                <a:gd name="T73" fmla="*/ 202 h 230"/>
                <a:gd name="T74" fmla="*/ 81 w 194"/>
                <a:gd name="T75" fmla="*/ 188 h 230"/>
                <a:gd name="T76" fmla="*/ 65 w 194"/>
                <a:gd name="T77" fmla="*/ 176 h 230"/>
                <a:gd name="T78" fmla="*/ 101 w 194"/>
                <a:gd name="T79" fmla="*/ 151 h 230"/>
                <a:gd name="T80" fmla="*/ 113 w 194"/>
                <a:gd name="T81" fmla="*/ 132 h 230"/>
                <a:gd name="T82" fmla="*/ 120 w 194"/>
                <a:gd name="T83" fmla="*/ 143 h 230"/>
                <a:gd name="T84" fmla="*/ 128 w 194"/>
                <a:gd name="T85" fmla="*/ 142 h 230"/>
                <a:gd name="T86" fmla="*/ 131 w 194"/>
                <a:gd name="T87" fmla="*/ 124 h 230"/>
                <a:gd name="T88" fmla="*/ 125 w 194"/>
                <a:gd name="T89" fmla="*/ 100 h 230"/>
                <a:gd name="T90" fmla="*/ 131 w 194"/>
                <a:gd name="T91" fmla="*/ 96 h 230"/>
                <a:gd name="T92" fmla="*/ 138 w 194"/>
                <a:gd name="T93" fmla="*/ 103 h 230"/>
                <a:gd name="T94" fmla="*/ 150 w 194"/>
                <a:gd name="T95" fmla="*/ 100 h 230"/>
                <a:gd name="T96" fmla="*/ 148 w 194"/>
                <a:gd name="T97" fmla="*/ 83 h 230"/>
                <a:gd name="T98" fmla="*/ 139 w 194"/>
                <a:gd name="T99" fmla="*/ 69 h 230"/>
                <a:gd name="T100" fmla="*/ 167 w 194"/>
                <a:gd name="T101" fmla="*/ 42 h 230"/>
                <a:gd name="T102" fmla="*/ 189 w 194"/>
                <a:gd name="T103" fmla="*/ 21 h 230"/>
                <a:gd name="T104" fmla="*/ 193 w 194"/>
                <a:gd name="T105" fmla="*/ 10 h 230"/>
                <a:gd name="T106" fmla="*/ 185 w 194"/>
                <a:gd name="T107" fmla="*/ 5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94" h="230">
                  <a:moveTo>
                    <a:pt x="185" y="5"/>
                  </a:moveTo>
                  <a:cubicBezTo>
                    <a:pt x="181" y="4"/>
                    <a:pt x="170" y="0"/>
                    <a:pt x="170" y="0"/>
                  </a:cubicBezTo>
                  <a:cubicBezTo>
                    <a:pt x="170" y="0"/>
                    <a:pt x="152" y="23"/>
                    <a:pt x="119" y="35"/>
                  </a:cubicBezTo>
                  <a:cubicBezTo>
                    <a:pt x="91" y="44"/>
                    <a:pt x="78" y="52"/>
                    <a:pt x="72" y="63"/>
                  </a:cubicBezTo>
                  <a:cubicBezTo>
                    <a:pt x="66" y="72"/>
                    <a:pt x="64" y="81"/>
                    <a:pt x="63" y="87"/>
                  </a:cubicBezTo>
                  <a:cubicBezTo>
                    <a:pt x="63" y="96"/>
                    <a:pt x="63" y="102"/>
                    <a:pt x="64" y="109"/>
                  </a:cubicBezTo>
                  <a:cubicBezTo>
                    <a:pt x="66" y="117"/>
                    <a:pt x="74" y="116"/>
                    <a:pt x="76" y="111"/>
                  </a:cubicBezTo>
                  <a:cubicBezTo>
                    <a:pt x="76" y="107"/>
                    <a:pt x="79" y="102"/>
                    <a:pt x="83" y="102"/>
                  </a:cubicBezTo>
                  <a:cubicBezTo>
                    <a:pt x="87" y="101"/>
                    <a:pt x="91" y="106"/>
                    <a:pt x="91" y="106"/>
                  </a:cubicBezTo>
                  <a:cubicBezTo>
                    <a:pt x="91" y="106"/>
                    <a:pt x="87" y="122"/>
                    <a:pt x="74" y="138"/>
                  </a:cubicBezTo>
                  <a:cubicBezTo>
                    <a:pt x="71" y="143"/>
                    <a:pt x="53" y="162"/>
                    <a:pt x="46" y="165"/>
                  </a:cubicBezTo>
                  <a:cubicBezTo>
                    <a:pt x="38" y="162"/>
                    <a:pt x="27" y="158"/>
                    <a:pt x="22" y="157"/>
                  </a:cubicBezTo>
                  <a:cubicBezTo>
                    <a:pt x="17" y="157"/>
                    <a:pt x="11" y="156"/>
                    <a:pt x="8" y="160"/>
                  </a:cubicBezTo>
                  <a:cubicBezTo>
                    <a:pt x="5" y="159"/>
                    <a:pt x="3" y="161"/>
                    <a:pt x="0" y="163"/>
                  </a:cubicBezTo>
                  <a:cubicBezTo>
                    <a:pt x="2" y="166"/>
                    <a:pt x="7" y="167"/>
                    <a:pt x="7" y="167"/>
                  </a:cubicBezTo>
                  <a:cubicBezTo>
                    <a:pt x="8" y="173"/>
                    <a:pt x="13" y="175"/>
                    <a:pt x="18" y="176"/>
                  </a:cubicBezTo>
                  <a:cubicBezTo>
                    <a:pt x="25" y="176"/>
                    <a:pt x="30" y="176"/>
                    <a:pt x="32" y="176"/>
                  </a:cubicBezTo>
                  <a:cubicBezTo>
                    <a:pt x="35" y="176"/>
                    <a:pt x="37" y="177"/>
                    <a:pt x="37" y="179"/>
                  </a:cubicBezTo>
                  <a:cubicBezTo>
                    <a:pt x="37" y="181"/>
                    <a:pt x="36" y="183"/>
                    <a:pt x="33" y="183"/>
                  </a:cubicBezTo>
                  <a:cubicBezTo>
                    <a:pt x="18" y="186"/>
                    <a:pt x="12" y="193"/>
                    <a:pt x="13" y="202"/>
                  </a:cubicBezTo>
                  <a:cubicBezTo>
                    <a:pt x="11" y="203"/>
                    <a:pt x="9" y="207"/>
                    <a:pt x="9" y="211"/>
                  </a:cubicBezTo>
                  <a:cubicBezTo>
                    <a:pt x="11" y="211"/>
                    <a:pt x="16" y="211"/>
                    <a:pt x="19" y="208"/>
                  </a:cubicBezTo>
                  <a:cubicBezTo>
                    <a:pt x="29" y="210"/>
                    <a:pt x="36" y="199"/>
                    <a:pt x="39" y="194"/>
                  </a:cubicBezTo>
                  <a:cubicBezTo>
                    <a:pt x="40" y="191"/>
                    <a:pt x="42" y="189"/>
                    <a:pt x="44" y="190"/>
                  </a:cubicBezTo>
                  <a:cubicBezTo>
                    <a:pt x="46" y="191"/>
                    <a:pt x="46" y="193"/>
                    <a:pt x="45" y="196"/>
                  </a:cubicBezTo>
                  <a:cubicBezTo>
                    <a:pt x="44" y="200"/>
                    <a:pt x="42" y="205"/>
                    <a:pt x="42" y="209"/>
                  </a:cubicBezTo>
                  <a:cubicBezTo>
                    <a:pt x="42" y="217"/>
                    <a:pt x="45" y="220"/>
                    <a:pt x="48" y="222"/>
                  </a:cubicBezTo>
                  <a:cubicBezTo>
                    <a:pt x="48" y="222"/>
                    <a:pt x="51" y="228"/>
                    <a:pt x="54" y="230"/>
                  </a:cubicBezTo>
                  <a:cubicBezTo>
                    <a:pt x="56" y="227"/>
                    <a:pt x="56" y="222"/>
                    <a:pt x="56" y="222"/>
                  </a:cubicBezTo>
                  <a:cubicBezTo>
                    <a:pt x="59" y="220"/>
                    <a:pt x="61" y="214"/>
                    <a:pt x="60" y="208"/>
                  </a:cubicBezTo>
                  <a:cubicBezTo>
                    <a:pt x="60" y="205"/>
                    <a:pt x="57" y="200"/>
                    <a:pt x="55" y="196"/>
                  </a:cubicBezTo>
                  <a:cubicBezTo>
                    <a:pt x="54" y="194"/>
                    <a:pt x="55" y="192"/>
                    <a:pt x="56" y="191"/>
                  </a:cubicBezTo>
                  <a:cubicBezTo>
                    <a:pt x="58" y="190"/>
                    <a:pt x="60" y="191"/>
                    <a:pt x="62" y="195"/>
                  </a:cubicBezTo>
                  <a:cubicBezTo>
                    <a:pt x="63" y="197"/>
                    <a:pt x="66" y="202"/>
                    <a:pt x="68" y="204"/>
                  </a:cubicBezTo>
                  <a:cubicBezTo>
                    <a:pt x="70" y="207"/>
                    <a:pt x="76" y="210"/>
                    <a:pt x="81" y="208"/>
                  </a:cubicBezTo>
                  <a:cubicBezTo>
                    <a:pt x="81" y="208"/>
                    <a:pt x="85" y="210"/>
                    <a:pt x="89" y="210"/>
                  </a:cubicBezTo>
                  <a:cubicBezTo>
                    <a:pt x="89" y="206"/>
                    <a:pt x="87" y="204"/>
                    <a:pt x="85" y="202"/>
                  </a:cubicBezTo>
                  <a:cubicBezTo>
                    <a:pt x="86" y="198"/>
                    <a:pt x="87" y="193"/>
                    <a:pt x="81" y="188"/>
                  </a:cubicBezTo>
                  <a:cubicBezTo>
                    <a:pt x="77" y="184"/>
                    <a:pt x="71" y="180"/>
                    <a:pt x="65" y="176"/>
                  </a:cubicBezTo>
                  <a:cubicBezTo>
                    <a:pt x="77" y="173"/>
                    <a:pt x="94" y="159"/>
                    <a:pt x="101" y="151"/>
                  </a:cubicBezTo>
                  <a:cubicBezTo>
                    <a:pt x="107" y="144"/>
                    <a:pt x="113" y="132"/>
                    <a:pt x="113" y="132"/>
                  </a:cubicBezTo>
                  <a:cubicBezTo>
                    <a:pt x="119" y="133"/>
                    <a:pt x="120" y="139"/>
                    <a:pt x="120" y="143"/>
                  </a:cubicBezTo>
                  <a:cubicBezTo>
                    <a:pt x="121" y="146"/>
                    <a:pt x="127" y="147"/>
                    <a:pt x="128" y="142"/>
                  </a:cubicBezTo>
                  <a:cubicBezTo>
                    <a:pt x="130" y="136"/>
                    <a:pt x="131" y="131"/>
                    <a:pt x="131" y="124"/>
                  </a:cubicBezTo>
                  <a:cubicBezTo>
                    <a:pt x="130" y="119"/>
                    <a:pt x="130" y="109"/>
                    <a:pt x="125" y="100"/>
                  </a:cubicBezTo>
                  <a:cubicBezTo>
                    <a:pt x="126" y="98"/>
                    <a:pt x="128" y="96"/>
                    <a:pt x="131" y="96"/>
                  </a:cubicBezTo>
                  <a:cubicBezTo>
                    <a:pt x="134" y="96"/>
                    <a:pt x="137" y="101"/>
                    <a:pt x="138" y="103"/>
                  </a:cubicBezTo>
                  <a:cubicBezTo>
                    <a:pt x="141" y="109"/>
                    <a:pt x="150" y="107"/>
                    <a:pt x="150" y="100"/>
                  </a:cubicBezTo>
                  <a:cubicBezTo>
                    <a:pt x="150" y="95"/>
                    <a:pt x="150" y="90"/>
                    <a:pt x="148" y="83"/>
                  </a:cubicBezTo>
                  <a:cubicBezTo>
                    <a:pt x="147" y="79"/>
                    <a:pt x="143" y="72"/>
                    <a:pt x="139" y="69"/>
                  </a:cubicBezTo>
                  <a:cubicBezTo>
                    <a:pt x="142" y="56"/>
                    <a:pt x="150" y="56"/>
                    <a:pt x="167" y="42"/>
                  </a:cubicBezTo>
                  <a:cubicBezTo>
                    <a:pt x="173" y="37"/>
                    <a:pt x="182" y="30"/>
                    <a:pt x="189" y="21"/>
                  </a:cubicBezTo>
                  <a:cubicBezTo>
                    <a:pt x="191" y="19"/>
                    <a:pt x="194" y="14"/>
                    <a:pt x="193" y="10"/>
                  </a:cubicBezTo>
                  <a:cubicBezTo>
                    <a:pt x="193" y="7"/>
                    <a:pt x="189" y="6"/>
                    <a:pt x="185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9" name="Freeform 14"/>
            <p:cNvSpPr>
              <a:spLocks noEditPoints="1"/>
            </p:cNvSpPr>
            <p:nvPr/>
          </p:nvSpPr>
          <p:spPr bwMode="auto">
            <a:xfrm>
              <a:off x="-6485" y="10146"/>
              <a:ext cx="557" cy="1066"/>
            </a:xfrm>
            <a:custGeom>
              <a:avLst/>
              <a:gdLst>
                <a:gd name="T0" fmla="*/ 177 w 295"/>
                <a:gd name="T1" fmla="*/ 25 h 565"/>
                <a:gd name="T2" fmla="*/ 261 w 295"/>
                <a:gd name="T3" fmla="*/ 327 h 565"/>
                <a:gd name="T4" fmla="*/ 266 w 295"/>
                <a:gd name="T5" fmla="*/ 438 h 565"/>
                <a:gd name="T6" fmla="*/ 239 w 295"/>
                <a:gd name="T7" fmla="*/ 448 h 565"/>
                <a:gd name="T8" fmla="*/ 224 w 295"/>
                <a:gd name="T9" fmla="*/ 515 h 565"/>
                <a:gd name="T10" fmla="*/ 229 w 295"/>
                <a:gd name="T11" fmla="*/ 535 h 565"/>
                <a:gd name="T12" fmla="*/ 202 w 295"/>
                <a:gd name="T13" fmla="*/ 526 h 565"/>
                <a:gd name="T14" fmla="*/ 210 w 295"/>
                <a:gd name="T15" fmla="*/ 556 h 565"/>
                <a:gd name="T16" fmla="*/ 194 w 295"/>
                <a:gd name="T17" fmla="*/ 549 h 565"/>
                <a:gd name="T18" fmla="*/ 186 w 295"/>
                <a:gd name="T19" fmla="*/ 534 h 565"/>
                <a:gd name="T20" fmla="*/ 163 w 295"/>
                <a:gd name="T21" fmla="*/ 549 h 565"/>
                <a:gd name="T22" fmla="*/ 174 w 295"/>
                <a:gd name="T23" fmla="*/ 520 h 565"/>
                <a:gd name="T24" fmla="*/ 139 w 295"/>
                <a:gd name="T25" fmla="*/ 516 h 565"/>
                <a:gd name="T26" fmla="*/ 185 w 295"/>
                <a:gd name="T27" fmla="*/ 505 h 565"/>
                <a:gd name="T28" fmla="*/ 204 w 295"/>
                <a:gd name="T29" fmla="*/ 449 h 565"/>
                <a:gd name="T30" fmla="*/ 191 w 295"/>
                <a:gd name="T31" fmla="*/ 435 h 565"/>
                <a:gd name="T32" fmla="*/ 186 w 295"/>
                <a:gd name="T33" fmla="*/ 423 h 565"/>
                <a:gd name="T34" fmla="*/ 193 w 295"/>
                <a:gd name="T35" fmla="*/ 359 h 565"/>
                <a:gd name="T36" fmla="*/ 124 w 295"/>
                <a:gd name="T37" fmla="*/ 251 h 565"/>
                <a:gd name="T38" fmla="*/ 74 w 295"/>
                <a:gd name="T39" fmla="*/ 300 h 565"/>
                <a:gd name="T40" fmla="*/ 64 w 295"/>
                <a:gd name="T41" fmla="*/ 318 h 565"/>
                <a:gd name="T42" fmla="*/ 51 w 295"/>
                <a:gd name="T43" fmla="*/ 292 h 565"/>
                <a:gd name="T44" fmla="*/ 37 w 295"/>
                <a:gd name="T45" fmla="*/ 318 h 565"/>
                <a:gd name="T46" fmla="*/ 30 w 295"/>
                <a:gd name="T47" fmla="*/ 302 h 565"/>
                <a:gd name="T48" fmla="*/ 34 w 295"/>
                <a:gd name="T49" fmla="*/ 286 h 565"/>
                <a:gd name="T50" fmla="*/ 8 w 295"/>
                <a:gd name="T51" fmla="*/ 280 h 565"/>
                <a:gd name="T52" fmla="*/ 37 w 295"/>
                <a:gd name="T53" fmla="*/ 267 h 565"/>
                <a:gd name="T54" fmla="*/ 15 w 295"/>
                <a:gd name="T55" fmla="*/ 240 h 565"/>
                <a:gd name="T56" fmla="*/ 53 w 295"/>
                <a:gd name="T57" fmla="*/ 263 h 565"/>
                <a:gd name="T58" fmla="*/ 99 w 295"/>
                <a:gd name="T59" fmla="*/ 193 h 565"/>
                <a:gd name="T60" fmla="*/ 92 w 295"/>
                <a:gd name="T61" fmla="*/ 176 h 565"/>
                <a:gd name="T62" fmla="*/ 67 w 295"/>
                <a:gd name="T63" fmla="*/ 113 h 565"/>
                <a:gd name="T64" fmla="*/ 45 w 295"/>
                <a:gd name="T65" fmla="*/ 139 h 565"/>
                <a:gd name="T66" fmla="*/ 51 w 295"/>
                <a:gd name="T67" fmla="*/ 109 h 565"/>
                <a:gd name="T68" fmla="*/ 38 w 295"/>
                <a:gd name="T69" fmla="*/ 112 h 565"/>
                <a:gd name="T70" fmla="*/ 20 w 295"/>
                <a:gd name="T71" fmla="*/ 107 h 565"/>
                <a:gd name="T72" fmla="*/ 49 w 295"/>
                <a:gd name="T73" fmla="*/ 90 h 565"/>
                <a:gd name="T74" fmla="*/ 16 w 295"/>
                <a:gd name="T75" fmla="*/ 66 h 565"/>
                <a:gd name="T76" fmla="*/ 57 w 295"/>
                <a:gd name="T77" fmla="*/ 74 h 565"/>
                <a:gd name="T78" fmla="*/ 58 w 295"/>
                <a:gd name="T79" fmla="*/ 40 h 565"/>
                <a:gd name="T80" fmla="*/ 73 w 295"/>
                <a:gd name="T81" fmla="*/ 81 h 565"/>
                <a:gd name="T82" fmla="*/ 133 w 295"/>
                <a:gd name="T83" fmla="*/ 130 h 565"/>
                <a:gd name="T84" fmla="*/ 124 w 295"/>
                <a:gd name="T85" fmla="*/ 113 h 565"/>
                <a:gd name="T86" fmla="*/ 167 w 295"/>
                <a:gd name="T87" fmla="*/ 98 h 565"/>
                <a:gd name="T88" fmla="*/ 176 w 295"/>
                <a:gd name="T89" fmla="*/ 86 h 565"/>
                <a:gd name="T90" fmla="*/ 122 w 295"/>
                <a:gd name="T91" fmla="*/ 51 h 565"/>
                <a:gd name="T92" fmla="*/ 148 w 295"/>
                <a:gd name="T93" fmla="*/ 10 h 565"/>
                <a:gd name="T94" fmla="*/ 208 w 295"/>
                <a:gd name="T95" fmla="*/ 8 h 565"/>
                <a:gd name="T96" fmla="*/ 238 w 295"/>
                <a:gd name="T97" fmla="*/ 61 h 565"/>
                <a:gd name="T98" fmla="*/ 217 w 295"/>
                <a:gd name="T99" fmla="*/ 68 h 565"/>
                <a:gd name="T100" fmla="*/ 228 w 295"/>
                <a:gd name="T101" fmla="*/ 117 h 565"/>
                <a:gd name="T102" fmla="*/ 222 w 295"/>
                <a:gd name="T103" fmla="*/ 137 h 565"/>
                <a:gd name="T104" fmla="*/ 207 w 295"/>
                <a:gd name="T105" fmla="*/ 150 h 565"/>
                <a:gd name="T106" fmla="*/ 210 w 295"/>
                <a:gd name="T107" fmla="*/ 199 h 565"/>
                <a:gd name="T108" fmla="*/ 189 w 295"/>
                <a:gd name="T109" fmla="*/ 198 h 565"/>
                <a:gd name="T110" fmla="*/ 259 w 295"/>
                <a:gd name="T111" fmla="*/ 309 h 565"/>
                <a:gd name="T112" fmla="*/ 245 w 295"/>
                <a:gd name="T113" fmla="*/ 164 h 565"/>
                <a:gd name="T114" fmla="*/ 281 w 295"/>
                <a:gd name="T115" fmla="*/ 98 h 565"/>
                <a:gd name="T116" fmla="*/ 271 w 295"/>
                <a:gd name="T117" fmla="*/ 143 h 565"/>
                <a:gd name="T118" fmla="*/ 286 w 295"/>
                <a:gd name="T119" fmla="*/ 147 h 565"/>
                <a:gd name="T120" fmla="*/ 246 w 295"/>
                <a:gd name="T121" fmla="*/ 205 h 5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95" h="565">
                  <a:moveTo>
                    <a:pt x="161" y="28"/>
                  </a:moveTo>
                  <a:cubicBezTo>
                    <a:pt x="161" y="28"/>
                    <a:pt x="171" y="43"/>
                    <a:pt x="178" y="38"/>
                  </a:cubicBezTo>
                  <a:cubicBezTo>
                    <a:pt x="183" y="35"/>
                    <a:pt x="180" y="29"/>
                    <a:pt x="177" y="25"/>
                  </a:cubicBezTo>
                  <a:cubicBezTo>
                    <a:pt x="172" y="20"/>
                    <a:pt x="166" y="23"/>
                    <a:pt x="161" y="28"/>
                  </a:cubicBezTo>
                  <a:close/>
                  <a:moveTo>
                    <a:pt x="292" y="295"/>
                  </a:moveTo>
                  <a:cubicBezTo>
                    <a:pt x="289" y="311"/>
                    <a:pt x="277" y="321"/>
                    <a:pt x="261" y="327"/>
                  </a:cubicBezTo>
                  <a:cubicBezTo>
                    <a:pt x="262" y="356"/>
                    <a:pt x="244" y="370"/>
                    <a:pt x="244" y="380"/>
                  </a:cubicBezTo>
                  <a:cubicBezTo>
                    <a:pt x="244" y="387"/>
                    <a:pt x="250" y="390"/>
                    <a:pt x="258" y="400"/>
                  </a:cubicBezTo>
                  <a:cubicBezTo>
                    <a:pt x="265" y="409"/>
                    <a:pt x="268" y="425"/>
                    <a:pt x="266" y="438"/>
                  </a:cubicBezTo>
                  <a:cubicBezTo>
                    <a:pt x="264" y="447"/>
                    <a:pt x="262" y="452"/>
                    <a:pt x="259" y="459"/>
                  </a:cubicBezTo>
                  <a:cubicBezTo>
                    <a:pt x="255" y="465"/>
                    <a:pt x="247" y="462"/>
                    <a:pt x="247" y="457"/>
                  </a:cubicBezTo>
                  <a:cubicBezTo>
                    <a:pt x="249" y="443"/>
                    <a:pt x="239" y="448"/>
                    <a:pt x="239" y="448"/>
                  </a:cubicBezTo>
                  <a:cubicBezTo>
                    <a:pt x="239" y="448"/>
                    <a:pt x="239" y="463"/>
                    <a:pt x="229" y="483"/>
                  </a:cubicBezTo>
                  <a:cubicBezTo>
                    <a:pt x="223" y="495"/>
                    <a:pt x="205" y="511"/>
                    <a:pt x="205" y="511"/>
                  </a:cubicBezTo>
                  <a:cubicBezTo>
                    <a:pt x="205" y="511"/>
                    <a:pt x="219" y="514"/>
                    <a:pt x="224" y="515"/>
                  </a:cubicBezTo>
                  <a:cubicBezTo>
                    <a:pt x="231" y="518"/>
                    <a:pt x="232" y="524"/>
                    <a:pt x="232" y="528"/>
                  </a:cubicBezTo>
                  <a:cubicBezTo>
                    <a:pt x="235" y="530"/>
                    <a:pt x="237" y="532"/>
                    <a:pt x="238" y="535"/>
                  </a:cubicBezTo>
                  <a:cubicBezTo>
                    <a:pt x="235" y="536"/>
                    <a:pt x="229" y="535"/>
                    <a:pt x="229" y="535"/>
                  </a:cubicBezTo>
                  <a:cubicBezTo>
                    <a:pt x="229" y="535"/>
                    <a:pt x="224" y="540"/>
                    <a:pt x="215" y="534"/>
                  </a:cubicBezTo>
                  <a:cubicBezTo>
                    <a:pt x="212" y="532"/>
                    <a:pt x="209" y="529"/>
                    <a:pt x="208" y="527"/>
                  </a:cubicBezTo>
                  <a:cubicBezTo>
                    <a:pt x="205" y="525"/>
                    <a:pt x="203" y="525"/>
                    <a:pt x="202" y="526"/>
                  </a:cubicBezTo>
                  <a:cubicBezTo>
                    <a:pt x="200" y="527"/>
                    <a:pt x="200" y="529"/>
                    <a:pt x="202" y="532"/>
                  </a:cubicBezTo>
                  <a:cubicBezTo>
                    <a:pt x="205" y="535"/>
                    <a:pt x="209" y="540"/>
                    <a:pt x="210" y="542"/>
                  </a:cubicBezTo>
                  <a:cubicBezTo>
                    <a:pt x="212" y="545"/>
                    <a:pt x="213" y="553"/>
                    <a:pt x="210" y="556"/>
                  </a:cubicBezTo>
                  <a:cubicBezTo>
                    <a:pt x="210" y="556"/>
                    <a:pt x="212" y="562"/>
                    <a:pt x="211" y="565"/>
                  </a:cubicBezTo>
                  <a:cubicBezTo>
                    <a:pt x="208" y="565"/>
                    <a:pt x="203" y="559"/>
                    <a:pt x="203" y="559"/>
                  </a:cubicBezTo>
                  <a:cubicBezTo>
                    <a:pt x="199" y="558"/>
                    <a:pt x="195" y="554"/>
                    <a:pt x="194" y="549"/>
                  </a:cubicBezTo>
                  <a:cubicBezTo>
                    <a:pt x="192" y="543"/>
                    <a:pt x="193" y="539"/>
                    <a:pt x="193" y="535"/>
                  </a:cubicBezTo>
                  <a:cubicBezTo>
                    <a:pt x="193" y="531"/>
                    <a:pt x="192" y="529"/>
                    <a:pt x="190" y="529"/>
                  </a:cubicBezTo>
                  <a:cubicBezTo>
                    <a:pt x="187" y="529"/>
                    <a:pt x="186" y="531"/>
                    <a:pt x="186" y="534"/>
                  </a:cubicBezTo>
                  <a:cubicBezTo>
                    <a:pt x="185" y="541"/>
                    <a:pt x="180" y="553"/>
                    <a:pt x="170" y="554"/>
                  </a:cubicBezTo>
                  <a:cubicBezTo>
                    <a:pt x="168" y="557"/>
                    <a:pt x="165" y="559"/>
                    <a:pt x="162" y="560"/>
                  </a:cubicBezTo>
                  <a:cubicBezTo>
                    <a:pt x="161" y="556"/>
                    <a:pt x="162" y="552"/>
                    <a:pt x="163" y="549"/>
                  </a:cubicBezTo>
                  <a:cubicBezTo>
                    <a:pt x="160" y="542"/>
                    <a:pt x="163" y="534"/>
                    <a:pt x="177" y="526"/>
                  </a:cubicBezTo>
                  <a:cubicBezTo>
                    <a:pt x="179" y="525"/>
                    <a:pt x="180" y="523"/>
                    <a:pt x="179" y="521"/>
                  </a:cubicBezTo>
                  <a:cubicBezTo>
                    <a:pt x="178" y="519"/>
                    <a:pt x="176" y="519"/>
                    <a:pt x="174" y="520"/>
                  </a:cubicBezTo>
                  <a:cubicBezTo>
                    <a:pt x="171" y="521"/>
                    <a:pt x="167" y="522"/>
                    <a:pt x="161" y="523"/>
                  </a:cubicBezTo>
                  <a:cubicBezTo>
                    <a:pt x="155" y="524"/>
                    <a:pt x="149" y="523"/>
                    <a:pt x="147" y="519"/>
                  </a:cubicBezTo>
                  <a:cubicBezTo>
                    <a:pt x="147" y="519"/>
                    <a:pt x="142" y="518"/>
                    <a:pt x="139" y="516"/>
                  </a:cubicBezTo>
                  <a:cubicBezTo>
                    <a:pt x="141" y="514"/>
                    <a:pt x="143" y="511"/>
                    <a:pt x="146" y="511"/>
                  </a:cubicBezTo>
                  <a:cubicBezTo>
                    <a:pt x="147" y="507"/>
                    <a:pt x="153" y="504"/>
                    <a:pt x="158" y="503"/>
                  </a:cubicBezTo>
                  <a:cubicBezTo>
                    <a:pt x="170" y="502"/>
                    <a:pt x="185" y="505"/>
                    <a:pt x="185" y="505"/>
                  </a:cubicBezTo>
                  <a:cubicBezTo>
                    <a:pt x="185" y="505"/>
                    <a:pt x="193" y="497"/>
                    <a:pt x="201" y="485"/>
                  </a:cubicBezTo>
                  <a:cubicBezTo>
                    <a:pt x="210" y="469"/>
                    <a:pt x="209" y="452"/>
                    <a:pt x="209" y="452"/>
                  </a:cubicBezTo>
                  <a:cubicBezTo>
                    <a:pt x="209" y="452"/>
                    <a:pt x="207" y="449"/>
                    <a:pt x="204" y="449"/>
                  </a:cubicBezTo>
                  <a:cubicBezTo>
                    <a:pt x="200" y="448"/>
                    <a:pt x="197" y="452"/>
                    <a:pt x="196" y="454"/>
                  </a:cubicBezTo>
                  <a:cubicBezTo>
                    <a:pt x="194" y="456"/>
                    <a:pt x="189" y="456"/>
                    <a:pt x="189" y="450"/>
                  </a:cubicBezTo>
                  <a:cubicBezTo>
                    <a:pt x="189" y="447"/>
                    <a:pt x="189" y="442"/>
                    <a:pt x="191" y="435"/>
                  </a:cubicBezTo>
                  <a:cubicBezTo>
                    <a:pt x="193" y="431"/>
                    <a:pt x="195" y="427"/>
                    <a:pt x="199" y="421"/>
                  </a:cubicBezTo>
                  <a:cubicBezTo>
                    <a:pt x="197" y="419"/>
                    <a:pt x="194" y="416"/>
                    <a:pt x="191" y="417"/>
                  </a:cubicBezTo>
                  <a:cubicBezTo>
                    <a:pt x="188" y="418"/>
                    <a:pt x="187" y="420"/>
                    <a:pt x="186" y="423"/>
                  </a:cubicBezTo>
                  <a:cubicBezTo>
                    <a:pt x="184" y="427"/>
                    <a:pt x="177" y="428"/>
                    <a:pt x="176" y="422"/>
                  </a:cubicBezTo>
                  <a:cubicBezTo>
                    <a:pt x="175" y="416"/>
                    <a:pt x="174" y="411"/>
                    <a:pt x="175" y="404"/>
                  </a:cubicBezTo>
                  <a:cubicBezTo>
                    <a:pt x="177" y="391"/>
                    <a:pt x="179" y="379"/>
                    <a:pt x="193" y="359"/>
                  </a:cubicBezTo>
                  <a:cubicBezTo>
                    <a:pt x="199" y="350"/>
                    <a:pt x="215" y="331"/>
                    <a:pt x="216" y="320"/>
                  </a:cubicBezTo>
                  <a:cubicBezTo>
                    <a:pt x="216" y="309"/>
                    <a:pt x="179" y="308"/>
                    <a:pt x="152" y="289"/>
                  </a:cubicBezTo>
                  <a:cubicBezTo>
                    <a:pt x="129" y="274"/>
                    <a:pt x="124" y="251"/>
                    <a:pt x="124" y="251"/>
                  </a:cubicBezTo>
                  <a:cubicBezTo>
                    <a:pt x="124" y="251"/>
                    <a:pt x="116" y="261"/>
                    <a:pt x="99" y="272"/>
                  </a:cubicBezTo>
                  <a:cubicBezTo>
                    <a:pt x="87" y="279"/>
                    <a:pt x="65" y="284"/>
                    <a:pt x="65" y="284"/>
                  </a:cubicBezTo>
                  <a:cubicBezTo>
                    <a:pt x="69" y="289"/>
                    <a:pt x="72" y="295"/>
                    <a:pt x="74" y="300"/>
                  </a:cubicBezTo>
                  <a:cubicBezTo>
                    <a:pt x="76" y="308"/>
                    <a:pt x="74" y="312"/>
                    <a:pt x="71" y="315"/>
                  </a:cubicBezTo>
                  <a:cubicBezTo>
                    <a:pt x="72" y="318"/>
                    <a:pt x="71" y="322"/>
                    <a:pt x="69" y="325"/>
                  </a:cubicBezTo>
                  <a:cubicBezTo>
                    <a:pt x="66" y="323"/>
                    <a:pt x="64" y="318"/>
                    <a:pt x="64" y="318"/>
                  </a:cubicBezTo>
                  <a:cubicBezTo>
                    <a:pt x="59" y="318"/>
                    <a:pt x="57" y="315"/>
                    <a:pt x="55" y="309"/>
                  </a:cubicBezTo>
                  <a:cubicBezTo>
                    <a:pt x="54" y="306"/>
                    <a:pt x="54" y="300"/>
                    <a:pt x="54" y="298"/>
                  </a:cubicBezTo>
                  <a:cubicBezTo>
                    <a:pt x="54" y="294"/>
                    <a:pt x="53" y="292"/>
                    <a:pt x="51" y="292"/>
                  </a:cubicBezTo>
                  <a:cubicBezTo>
                    <a:pt x="49" y="292"/>
                    <a:pt x="48" y="294"/>
                    <a:pt x="48" y="296"/>
                  </a:cubicBezTo>
                  <a:cubicBezTo>
                    <a:pt x="47" y="300"/>
                    <a:pt x="47" y="306"/>
                    <a:pt x="46" y="309"/>
                  </a:cubicBezTo>
                  <a:cubicBezTo>
                    <a:pt x="45" y="313"/>
                    <a:pt x="41" y="318"/>
                    <a:pt x="37" y="318"/>
                  </a:cubicBezTo>
                  <a:cubicBezTo>
                    <a:pt x="37" y="318"/>
                    <a:pt x="35" y="324"/>
                    <a:pt x="32" y="326"/>
                  </a:cubicBezTo>
                  <a:cubicBezTo>
                    <a:pt x="30" y="323"/>
                    <a:pt x="31" y="316"/>
                    <a:pt x="31" y="316"/>
                  </a:cubicBezTo>
                  <a:cubicBezTo>
                    <a:pt x="28" y="314"/>
                    <a:pt x="27" y="310"/>
                    <a:pt x="30" y="302"/>
                  </a:cubicBezTo>
                  <a:cubicBezTo>
                    <a:pt x="33" y="296"/>
                    <a:pt x="35" y="294"/>
                    <a:pt x="37" y="291"/>
                  </a:cubicBezTo>
                  <a:cubicBezTo>
                    <a:pt x="40" y="289"/>
                    <a:pt x="41" y="287"/>
                    <a:pt x="39" y="285"/>
                  </a:cubicBezTo>
                  <a:cubicBezTo>
                    <a:pt x="38" y="284"/>
                    <a:pt x="37" y="284"/>
                    <a:pt x="34" y="286"/>
                  </a:cubicBezTo>
                  <a:cubicBezTo>
                    <a:pt x="29" y="289"/>
                    <a:pt x="16" y="295"/>
                    <a:pt x="8" y="289"/>
                  </a:cubicBezTo>
                  <a:cubicBezTo>
                    <a:pt x="5" y="290"/>
                    <a:pt x="2" y="288"/>
                    <a:pt x="0" y="287"/>
                  </a:cubicBezTo>
                  <a:cubicBezTo>
                    <a:pt x="1" y="283"/>
                    <a:pt x="5" y="281"/>
                    <a:pt x="8" y="280"/>
                  </a:cubicBezTo>
                  <a:cubicBezTo>
                    <a:pt x="11" y="275"/>
                    <a:pt x="19" y="272"/>
                    <a:pt x="34" y="274"/>
                  </a:cubicBezTo>
                  <a:cubicBezTo>
                    <a:pt x="36" y="274"/>
                    <a:pt x="39" y="274"/>
                    <a:pt x="39" y="272"/>
                  </a:cubicBezTo>
                  <a:cubicBezTo>
                    <a:pt x="40" y="270"/>
                    <a:pt x="39" y="268"/>
                    <a:pt x="37" y="267"/>
                  </a:cubicBezTo>
                  <a:cubicBezTo>
                    <a:pt x="34" y="266"/>
                    <a:pt x="30" y="264"/>
                    <a:pt x="25" y="260"/>
                  </a:cubicBezTo>
                  <a:cubicBezTo>
                    <a:pt x="20" y="257"/>
                    <a:pt x="17" y="252"/>
                    <a:pt x="19" y="247"/>
                  </a:cubicBezTo>
                  <a:cubicBezTo>
                    <a:pt x="19" y="247"/>
                    <a:pt x="16" y="244"/>
                    <a:pt x="15" y="240"/>
                  </a:cubicBezTo>
                  <a:cubicBezTo>
                    <a:pt x="18" y="240"/>
                    <a:pt x="22" y="240"/>
                    <a:pt x="24" y="241"/>
                  </a:cubicBezTo>
                  <a:cubicBezTo>
                    <a:pt x="28" y="239"/>
                    <a:pt x="34" y="241"/>
                    <a:pt x="38" y="245"/>
                  </a:cubicBezTo>
                  <a:cubicBezTo>
                    <a:pt x="42" y="248"/>
                    <a:pt x="48" y="256"/>
                    <a:pt x="53" y="263"/>
                  </a:cubicBezTo>
                  <a:cubicBezTo>
                    <a:pt x="53" y="263"/>
                    <a:pt x="73" y="260"/>
                    <a:pt x="89" y="243"/>
                  </a:cubicBezTo>
                  <a:cubicBezTo>
                    <a:pt x="99" y="232"/>
                    <a:pt x="101" y="214"/>
                    <a:pt x="102" y="199"/>
                  </a:cubicBezTo>
                  <a:cubicBezTo>
                    <a:pt x="102" y="196"/>
                    <a:pt x="101" y="194"/>
                    <a:pt x="99" y="193"/>
                  </a:cubicBezTo>
                  <a:cubicBezTo>
                    <a:pt x="95" y="191"/>
                    <a:pt x="91" y="194"/>
                    <a:pt x="89" y="195"/>
                  </a:cubicBezTo>
                  <a:cubicBezTo>
                    <a:pt x="87" y="196"/>
                    <a:pt x="82" y="194"/>
                    <a:pt x="84" y="189"/>
                  </a:cubicBezTo>
                  <a:cubicBezTo>
                    <a:pt x="86" y="184"/>
                    <a:pt x="87" y="181"/>
                    <a:pt x="92" y="176"/>
                  </a:cubicBezTo>
                  <a:cubicBezTo>
                    <a:pt x="95" y="173"/>
                    <a:pt x="100" y="167"/>
                    <a:pt x="108" y="162"/>
                  </a:cubicBezTo>
                  <a:cubicBezTo>
                    <a:pt x="101" y="158"/>
                    <a:pt x="94" y="151"/>
                    <a:pt x="87" y="144"/>
                  </a:cubicBezTo>
                  <a:cubicBezTo>
                    <a:pt x="82" y="139"/>
                    <a:pt x="72" y="124"/>
                    <a:pt x="67" y="113"/>
                  </a:cubicBezTo>
                  <a:cubicBezTo>
                    <a:pt x="66" y="116"/>
                    <a:pt x="65" y="121"/>
                    <a:pt x="64" y="125"/>
                  </a:cubicBezTo>
                  <a:cubicBezTo>
                    <a:pt x="61" y="132"/>
                    <a:pt x="57" y="133"/>
                    <a:pt x="53" y="133"/>
                  </a:cubicBezTo>
                  <a:cubicBezTo>
                    <a:pt x="52" y="136"/>
                    <a:pt x="49" y="138"/>
                    <a:pt x="45" y="139"/>
                  </a:cubicBezTo>
                  <a:cubicBezTo>
                    <a:pt x="44" y="136"/>
                    <a:pt x="46" y="131"/>
                    <a:pt x="46" y="131"/>
                  </a:cubicBezTo>
                  <a:cubicBezTo>
                    <a:pt x="42" y="128"/>
                    <a:pt x="43" y="123"/>
                    <a:pt x="45" y="118"/>
                  </a:cubicBezTo>
                  <a:cubicBezTo>
                    <a:pt x="47" y="113"/>
                    <a:pt x="49" y="110"/>
                    <a:pt x="51" y="109"/>
                  </a:cubicBezTo>
                  <a:cubicBezTo>
                    <a:pt x="54" y="106"/>
                    <a:pt x="54" y="104"/>
                    <a:pt x="53" y="102"/>
                  </a:cubicBezTo>
                  <a:cubicBezTo>
                    <a:pt x="51" y="101"/>
                    <a:pt x="49" y="101"/>
                    <a:pt x="47" y="103"/>
                  </a:cubicBezTo>
                  <a:cubicBezTo>
                    <a:pt x="45" y="107"/>
                    <a:pt x="40" y="111"/>
                    <a:pt x="38" y="112"/>
                  </a:cubicBezTo>
                  <a:cubicBezTo>
                    <a:pt x="34" y="114"/>
                    <a:pt x="27" y="115"/>
                    <a:pt x="24" y="113"/>
                  </a:cubicBezTo>
                  <a:cubicBezTo>
                    <a:pt x="24" y="113"/>
                    <a:pt x="19" y="115"/>
                    <a:pt x="15" y="114"/>
                  </a:cubicBezTo>
                  <a:cubicBezTo>
                    <a:pt x="15" y="111"/>
                    <a:pt x="20" y="107"/>
                    <a:pt x="20" y="107"/>
                  </a:cubicBezTo>
                  <a:cubicBezTo>
                    <a:pt x="21" y="102"/>
                    <a:pt x="21" y="100"/>
                    <a:pt x="29" y="96"/>
                  </a:cubicBezTo>
                  <a:cubicBezTo>
                    <a:pt x="33" y="94"/>
                    <a:pt x="39" y="93"/>
                    <a:pt x="43" y="93"/>
                  </a:cubicBezTo>
                  <a:cubicBezTo>
                    <a:pt x="47" y="93"/>
                    <a:pt x="49" y="92"/>
                    <a:pt x="49" y="90"/>
                  </a:cubicBezTo>
                  <a:cubicBezTo>
                    <a:pt x="49" y="87"/>
                    <a:pt x="47" y="86"/>
                    <a:pt x="44" y="86"/>
                  </a:cubicBezTo>
                  <a:cubicBezTo>
                    <a:pt x="36" y="87"/>
                    <a:pt x="24" y="83"/>
                    <a:pt x="22" y="73"/>
                  </a:cubicBezTo>
                  <a:cubicBezTo>
                    <a:pt x="19" y="71"/>
                    <a:pt x="17" y="68"/>
                    <a:pt x="16" y="66"/>
                  </a:cubicBezTo>
                  <a:cubicBezTo>
                    <a:pt x="20" y="64"/>
                    <a:pt x="24" y="65"/>
                    <a:pt x="27" y="66"/>
                  </a:cubicBezTo>
                  <a:cubicBezTo>
                    <a:pt x="34" y="62"/>
                    <a:pt x="42" y="65"/>
                    <a:pt x="51" y="78"/>
                  </a:cubicBezTo>
                  <a:cubicBezTo>
                    <a:pt x="53" y="81"/>
                    <a:pt x="59" y="79"/>
                    <a:pt x="57" y="74"/>
                  </a:cubicBezTo>
                  <a:cubicBezTo>
                    <a:pt x="56" y="72"/>
                    <a:pt x="55" y="68"/>
                    <a:pt x="53" y="62"/>
                  </a:cubicBezTo>
                  <a:cubicBezTo>
                    <a:pt x="51" y="56"/>
                    <a:pt x="52" y="50"/>
                    <a:pt x="57" y="48"/>
                  </a:cubicBezTo>
                  <a:cubicBezTo>
                    <a:pt x="57" y="48"/>
                    <a:pt x="56" y="43"/>
                    <a:pt x="58" y="40"/>
                  </a:cubicBezTo>
                  <a:cubicBezTo>
                    <a:pt x="61" y="41"/>
                    <a:pt x="64" y="44"/>
                    <a:pt x="64" y="46"/>
                  </a:cubicBezTo>
                  <a:cubicBezTo>
                    <a:pt x="68" y="47"/>
                    <a:pt x="72" y="53"/>
                    <a:pt x="73" y="57"/>
                  </a:cubicBezTo>
                  <a:cubicBezTo>
                    <a:pt x="74" y="62"/>
                    <a:pt x="75" y="71"/>
                    <a:pt x="73" y="81"/>
                  </a:cubicBezTo>
                  <a:cubicBezTo>
                    <a:pt x="76" y="92"/>
                    <a:pt x="83" y="100"/>
                    <a:pt x="88" y="106"/>
                  </a:cubicBezTo>
                  <a:cubicBezTo>
                    <a:pt x="97" y="116"/>
                    <a:pt x="116" y="128"/>
                    <a:pt x="129" y="135"/>
                  </a:cubicBezTo>
                  <a:cubicBezTo>
                    <a:pt x="130" y="134"/>
                    <a:pt x="132" y="132"/>
                    <a:pt x="133" y="130"/>
                  </a:cubicBezTo>
                  <a:cubicBezTo>
                    <a:pt x="135" y="129"/>
                    <a:pt x="134" y="127"/>
                    <a:pt x="133" y="125"/>
                  </a:cubicBezTo>
                  <a:cubicBezTo>
                    <a:pt x="132" y="122"/>
                    <a:pt x="127" y="122"/>
                    <a:pt x="125" y="121"/>
                  </a:cubicBezTo>
                  <a:cubicBezTo>
                    <a:pt x="122" y="121"/>
                    <a:pt x="119" y="117"/>
                    <a:pt x="124" y="113"/>
                  </a:cubicBezTo>
                  <a:cubicBezTo>
                    <a:pt x="128" y="110"/>
                    <a:pt x="134" y="108"/>
                    <a:pt x="140" y="107"/>
                  </a:cubicBezTo>
                  <a:cubicBezTo>
                    <a:pt x="145" y="106"/>
                    <a:pt x="154" y="104"/>
                    <a:pt x="164" y="107"/>
                  </a:cubicBezTo>
                  <a:cubicBezTo>
                    <a:pt x="164" y="107"/>
                    <a:pt x="170" y="100"/>
                    <a:pt x="167" y="98"/>
                  </a:cubicBezTo>
                  <a:cubicBezTo>
                    <a:pt x="157" y="90"/>
                    <a:pt x="137" y="95"/>
                    <a:pt x="137" y="95"/>
                  </a:cubicBezTo>
                  <a:cubicBezTo>
                    <a:pt x="129" y="85"/>
                    <a:pt x="136" y="82"/>
                    <a:pt x="147" y="81"/>
                  </a:cubicBezTo>
                  <a:cubicBezTo>
                    <a:pt x="156" y="81"/>
                    <a:pt x="166" y="83"/>
                    <a:pt x="176" y="86"/>
                  </a:cubicBezTo>
                  <a:cubicBezTo>
                    <a:pt x="184" y="81"/>
                    <a:pt x="181" y="64"/>
                    <a:pt x="172" y="59"/>
                  </a:cubicBezTo>
                  <a:cubicBezTo>
                    <a:pt x="150" y="49"/>
                    <a:pt x="134" y="60"/>
                    <a:pt x="134" y="60"/>
                  </a:cubicBezTo>
                  <a:cubicBezTo>
                    <a:pt x="129" y="59"/>
                    <a:pt x="124" y="57"/>
                    <a:pt x="122" y="51"/>
                  </a:cubicBezTo>
                  <a:cubicBezTo>
                    <a:pt x="119" y="45"/>
                    <a:pt x="121" y="39"/>
                    <a:pt x="121" y="39"/>
                  </a:cubicBezTo>
                  <a:cubicBezTo>
                    <a:pt x="116" y="36"/>
                    <a:pt x="116" y="24"/>
                    <a:pt x="149" y="27"/>
                  </a:cubicBezTo>
                  <a:cubicBezTo>
                    <a:pt x="149" y="27"/>
                    <a:pt x="145" y="18"/>
                    <a:pt x="148" y="10"/>
                  </a:cubicBezTo>
                  <a:cubicBezTo>
                    <a:pt x="151" y="1"/>
                    <a:pt x="186" y="6"/>
                    <a:pt x="194" y="4"/>
                  </a:cubicBezTo>
                  <a:cubicBezTo>
                    <a:pt x="197" y="3"/>
                    <a:pt x="200" y="2"/>
                    <a:pt x="202" y="2"/>
                  </a:cubicBezTo>
                  <a:cubicBezTo>
                    <a:pt x="207" y="0"/>
                    <a:pt x="209" y="5"/>
                    <a:pt x="208" y="8"/>
                  </a:cubicBezTo>
                  <a:cubicBezTo>
                    <a:pt x="205" y="13"/>
                    <a:pt x="204" y="19"/>
                    <a:pt x="204" y="19"/>
                  </a:cubicBezTo>
                  <a:cubicBezTo>
                    <a:pt x="204" y="19"/>
                    <a:pt x="217" y="22"/>
                    <a:pt x="229" y="36"/>
                  </a:cubicBezTo>
                  <a:cubicBezTo>
                    <a:pt x="235" y="44"/>
                    <a:pt x="237" y="56"/>
                    <a:pt x="238" y="61"/>
                  </a:cubicBezTo>
                  <a:cubicBezTo>
                    <a:pt x="239" y="67"/>
                    <a:pt x="234" y="67"/>
                    <a:pt x="232" y="66"/>
                  </a:cubicBezTo>
                  <a:cubicBezTo>
                    <a:pt x="230" y="64"/>
                    <a:pt x="227" y="61"/>
                    <a:pt x="223" y="61"/>
                  </a:cubicBezTo>
                  <a:cubicBezTo>
                    <a:pt x="221" y="62"/>
                    <a:pt x="218" y="66"/>
                    <a:pt x="217" y="68"/>
                  </a:cubicBezTo>
                  <a:cubicBezTo>
                    <a:pt x="230" y="75"/>
                    <a:pt x="235" y="90"/>
                    <a:pt x="236" y="97"/>
                  </a:cubicBezTo>
                  <a:cubicBezTo>
                    <a:pt x="237" y="104"/>
                    <a:pt x="237" y="109"/>
                    <a:pt x="236" y="115"/>
                  </a:cubicBezTo>
                  <a:cubicBezTo>
                    <a:pt x="235" y="121"/>
                    <a:pt x="230" y="119"/>
                    <a:pt x="228" y="117"/>
                  </a:cubicBezTo>
                  <a:cubicBezTo>
                    <a:pt x="227" y="115"/>
                    <a:pt x="225" y="111"/>
                    <a:pt x="221" y="110"/>
                  </a:cubicBezTo>
                  <a:cubicBezTo>
                    <a:pt x="218" y="110"/>
                    <a:pt x="216" y="113"/>
                    <a:pt x="214" y="116"/>
                  </a:cubicBezTo>
                  <a:cubicBezTo>
                    <a:pt x="219" y="123"/>
                    <a:pt x="221" y="132"/>
                    <a:pt x="222" y="137"/>
                  </a:cubicBezTo>
                  <a:cubicBezTo>
                    <a:pt x="223" y="144"/>
                    <a:pt x="222" y="149"/>
                    <a:pt x="221" y="155"/>
                  </a:cubicBezTo>
                  <a:cubicBezTo>
                    <a:pt x="220" y="161"/>
                    <a:pt x="215" y="159"/>
                    <a:pt x="213" y="157"/>
                  </a:cubicBezTo>
                  <a:cubicBezTo>
                    <a:pt x="212" y="155"/>
                    <a:pt x="210" y="150"/>
                    <a:pt x="207" y="150"/>
                  </a:cubicBezTo>
                  <a:cubicBezTo>
                    <a:pt x="203" y="149"/>
                    <a:pt x="200" y="153"/>
                    <a:pt x="199" y="156"/>
                  </a:cubicBezTo>
                  <a:cubicBezTo>
                    <a:pt x="206" y="164"/>
                    <a:pt x="209" y="176"/>
                    <a:pt x="210" y="181"/>
                  </a:cubicBezTo>
                  <a:cubicBezTo>
                    <a:pt x="211" y="188"/>
                    <a:pt x="211" y="194"/>
                    <a:pt x="210" y="199"/>
                  </a:cubicBezTo>
                  <a:cubicBezTo>
                    <a:pt x="209" y="205"/>
                    <a:pt x="204" y="205"/>
                    <a:pt x="202" y="201"/>
                  </a:cubicBezTo>
                  <a:cubicBezTo>
                    <a:pt x="201" y="199"/>
                    <a:pt x="200" y="195"/>
                    <a:pt x="196" y="194"/>
                  </a:cubicBezTo>
                  <a:cubicBezTo>
                    <a:pt x="194" y="194"/>
                    <a:pt x="191" y="196"/>
                    <a:pt x="189" y="198"/>
                  </a:cubicBezTo>
                  <a:cubicBezTo>
                    <a:pt x="188" y="205"/>
                    <a:pt x="190" y="212"/>
                    <a:pt x="191" y="219"/>
                  </a:cubicBezTo>
                  <a:cubicBezTo>
                    <a:pt x="193" y="231"/>
                    <a:pt x="200" y="243"/>
                    <a:pt x="215" y="253"/>
                  </a:cubicBezTo>
                  <a:cubicBezTo>
                    <a:pt x="231" y="266"/>
                    <a:pt x="252" y="285"/>
                    <a:pt x="259" y="309"/>
                  </a:cubicBezTo>
                  <a:cubicBezTo>
                    <a:pt x="273" y="303"/>
                    <a:pt x="286" y="289"/>
                    <a:pt x="270" y="267"/>
                  </a:cubicBezTo>
                  <a:cubicBezTo>
                    <a:pt x="253" y="244"/>
                    <a:pt x="241" y="237"/>
                    <a:pt x="234" y="211"/>
                  </a:cubicBezTo>
                  <a:cubicBezTo>
                    <a:pt x="230" y="196"/>
                    <a:pt x="233" y="180"/>
                    <a:pt x="245" y="164"/>
                  </a:cubicBezTo>
                  <a:cubicBezTo>
                    <a:pt x="244" y="161"/>
                    <a:pt x="243" y="158"/>
                    <a:pt x="243" y="154"/>
                  </a:cubicBezTo>
                  <a:cubicBezTo>
                    <a:pt x="242" y="147"/>
                    <a:pt x="243" y="138"/>
                    <a:pt x="249" y="127"/>
                  </a:cubicBezTo>
                  <a:cubicBezTo>
                    <a:pt x="255" y="118"/>
                    <a:pt x="265" y="105"/>
                    <a:pt x="281" y="98"/>
                  </a:cubicBezTo>
                  <a:cubicBezTo>
                    <a:pt x="284" y="100"/>
                    <a:pt x="285" y="108"/>
                    <a:pt x="284" y="109"/>
                  </a:cubicBezTo>
                  <a:cubicBezTo>
                    <a:pt x="279" y="118"/>
                    <a:pt x="262" y="131"/>
                    <a:pt x="261" y="136"/>
                  </a:cubicBezTo>
                  <a:cubicBezTo>
                    <a:pt x="261" y="139"/>
                    <a:pt x="268" y="144"/>
                    <a:pt x="271" y="143"/>
                  </a:cubicBezTo>
                  <a:cubicBezTo>
                    <a:pt x="276" y="141"/>
                    <a:pt x="281" y="128"/>
                    <a:pt x="283" y="126"/>
                  </a:cubicBezTo>
                  <a:cubicBezTo>
                    <a:pt x="285" y="123"/>
                    <a:pt x="291" y="123"/>
                    <a:pt x="290" y="129"/>
                  </a:cubicBezTo>
                  <a:cubicBezTo>
                    <a:pt x="290" y="135"/>
                    <a:pt x="289" y="140"/>
                    <a:pt x="286" y="147"/>
                  </a:cubicBezTo>
                  <a:cubicBezTo>
                    <a:pt x="284" y="154"/>
                    <a:pt x="275" y="166"/>
                    <a:pt x="258" y="169"/>
                  </a:cubicBezTo>
                  <a:cubicBezTo>
                    <a:pt x="257" y="169"/>
                    <a:pt x="255" y="169"/>
                    <a:pt x="253" y="169"/>
                  </a:cubicBezTo>
                  <a:cubicBezTo>
                    <a:pt x="243" y="183"/>
                    <a:pt x="245" y="197"/>
                    <a:pt x="246" y="205"/>
                  </a:cubicBezTo>
                  <a:cubicBezTo>
                    <a:pt x="249" y="222"/>
                    <a:pt x="260" y="231"/>
                    <a:pt x="275" y="250"/>
                  </a:cubicBezTo>
                  <a:cubicBezTo>
                    <a:pt x="288" y="267"/>
                    <a:pt x="295" y="277"/>
                    <a:pt x="292" y="2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0" name="Freeform 15"/>
            <p:cNvSpPr>
              <a:spLocks/>
            </p:cNvSpPr>
            <p:nvPr/>
          </p:nvSpPr>
          <p:spPr bwMode="auto">
            <a:xfrm>
              <a:off x="-6472" y="9908"/>
              <a:ext cx="89" cy="89"/>
            </a:xfrm>
            <a:custGeom>
              <a:avLst/>
              <a:gdLst>
                <a:gd name="T0" fmla="*/ 24 w 47"/>
                <a:gd name="T1" fmla="*/ 47 h 47"/>
                <a:gd name="T2" fmla="*/ 6 w 47"/>
                <a:gd name="T3" fmla="*/ 23 h 47"/>
                <a:gd name="T4" fmla="*/ 12 w 47"/>
                <a:gd name="T5" fmla="*/ 1 h 47"/>
                <a:gd name="T6" fmla="*/ 23 w 47"/>
                <a:gd name="T7" fmla="*/ 5 h 47"/>
                <a:gd name="T8" fmla="*/ 24 w 47"/>
                <a:gd name="T9" fmla="*/ 5 h 47"/>
                <a:gd name="T10" fmla="*/ 35 w 47"/>
                <a:gd name="T11" fmla="*/ 1 h 47"/>
                <a:gd name="T12" fmla="*/ 41 w 47"/>
                <a:gd name="T13" fmla="*/ 23 h 47"/>
                <a:gd name="T14" fmla="*/ 24 w 47"/>
                <a:gd name="T15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7">
                  <a:moveTo>
                    <a:pt x="24" y="47"/>
                  </a:moveTo>
                  <a:cubicBezTo>
                    <a:pt x="19" y="39"/>
                    <a:pt x="12" y="31"/>
                    <a:pt x="6" y="23"/>
                  </a:cubicBezTo>
                  <a:cubicBezTo>
                    <a:pt x="0" y="14"/>
                    <a:pt x="1" y="3"/>
                    <a:pt x="12" y="1"/>
                  </a:cubicBezTo>
                  <a:cubicBezTo>
                    <a:pt x="16" y="0"/>
                    <a:pt x="20" y="2"/>
                    <a:pt x="23" y="5"/>
                  </a:cubicBezTo>
                  <a:cubicBezTo>
                    <a:pt x="24" y="5"/>
                    <a:pt x="24" y="5"/>
                    <a:pt x="24" y="5"/>
                  </a:cubicBezTo>
                  <a:cubicBezTo>
                    <a:pt x="28" y="2"/>
                    <a:pt x="32" y="0"/>
                    <a:pt x="35" y="1"/>
                  </a:cubicBezTo>
                  <a:cubicBezTo>
                    <a:pt x="46" y="3"/>
                    <a:pt x="47" y="14"/>
                    <a:pt x="41" y="23"/>
                  </a:cubicBezTo>
                  <a:cubicBezTo>
                    <a:pt x="36" y="31"/>
                    <a:pt x="29" y="39"/>
                    <a:pt x="24" y="4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1" name="Freeform 16"/>
            <p:cNvSpPr>
              <a:spLocks/>
            </p:cNvSpPr>
            <p:nvPr/>
          </p:nvSpPr>
          <p:spPr bwMode="auto">
            <a:xfrm>
              <a:off x="-6472" y="11318"/>
              <a:ext cx="89" cy="87"/>
            </a:xfrm>
            <a:custGeom>
              <a:avLst/>
              <a:gdLst>
                <a:gd name="T0" fmla="*/ 24 w 47"/>
                <a:gd name="T1" fmla="*/ 46 h 46"/>
                <a:gd name="T2" fmla="*/ 6 w 47"/>
                <a:gd name="T3" fmla="*/ 23 h 46"/>
                <a:gd name="T4" fmla="*/ 12 w 47"/>
                <a:gd name="T5" fmla="*/ 0 h 46"/>
                <a:gd name="T6" fmla="*/ 23 w 47"/>
                <a:gd name="T7" fmla="*/ 4 h 46"/>
                <a:gd name="T8" fmla="*/ 24 w 47"/>
                <a:gd name="T9" fmla="*/ 4 h 46"/>
                <a:gd name="T10" fmla="*/ 35 w 47"/>
                <a:gd name="T11" fmla="*/ 0 h 46"/>
                <a:gd name="T12" fmla="*/ 41 w 47"/>
                <a:gd name="T13" fmla="*/ 23 h 46"/>
                <a:gd name="T14" fmla="*/ 24 w 47"/>
                <a:gd name="T15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6">
                  <a:moveTo>
                    <a:pt x="24" y="46"/>
                  </a:moveTo>
                  <a:cubicBezTo>
                    <a:pt x="19" y="38"/>
                    <a:pt x="12" y="31"/>
                    <a:pt x="6" y="23"/>
                  </a:cubicBezTo>
                  <a:cubicBezTo>
                    <a:pt x="0" y="14"/>
                    <a:pt x="1" y="2"/>
                    <a:pt x="12" y="0"/>
                  </a:cubicBezTo>
                  <a:cubicBezTo>
                    <a:pt x="16" y="0"/>
                    <a:pt x="20" y="1"/>
                    <a:pt x="23" y="4"/>
                  </a:cubicBezTo>
                  <a:cubicBezTo>
                    <a:pt x="24" y="5"/>
                    <a:pt x="24" y="5"/>
                    <a:pt x="24" y="4"/>
                  </a:cubicBezTo>
                  <a:cubicBezTo>
                    <a:pt x="28" y="1"/>
                    <a:pt x="32" y="0"/>
                    <a:pt x="35" y="0"/>
                  </a:cubicBezTo>
                  <a:cubicBezTo>
                    <a:pt x="46" y="2"/>
                    <a:pt x="47" y="14"/>
                    <a:pt x="41" y="23"/>
                  </a:cubicBezTo>
                  <a:cubicBezTo>
                    <a:pt x="36" y="31"/>
                    <a:pt x="29" y="38"/>
                    <a:pt x="24" y="4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2" name="Freeform 17"/>
            <p:cNvSpPr>
              <a:spLocks/>
            </p:cNvSpPr>
            <p:nvPr/>
          </p:nvSpPr>
          <p:spPr bwMode="auto">
            <a:xfrm>
              <a:off x="-6321" y="11248"/>
              <a:ext cx="89" cy="89"/>
            </a:xfrm>
            <a:custGeom>
              <a:avLst/>
              <a:gdLst>
                <a:gd name="T0" fmla="*/ 23 w 47"/>
                <a:gd name="T1" fmla="*/ 47 h 47"/>
                <a:gd name="T2" fmla="*/ 6 w 47"/>
                <a:gd name="T3" fmla="*/ 23 h 47"/>
                <a:gd name="T4" fmla="*/ 12 w 47"/>
                <a:gd name="T5" fmla="*/ 1 h 47"/>
                <a:gd name="T6" fmla="*/ 23 w 47"/>
                <a:gd name="T7" fmla="*/ 5 h 47"/>
                <a:gd name="T8" fmla="*/ 24 w 47"/>
                <a:gd name="T9" fmla="*/ 5 h 47"/>
                <a:gd name="T10" fmla="*/ 35 w 47"/>
                <a:gd name="T11" fmla="*/ 1 h 47"/>
                <a:gd name="T12" fmla="*/ 41 w 47"/>
                <a:gd name="T13" fmla="*/ 23 h 47"/>
                <a:gd name="T14" fmla="*/ 23 w 47"/>
                <a:gd name="T15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7">
                  <a:moveTo>
                    <a:pt x="23" y="47"/>
                  </a:moveTo>
                  <a:cubicBezTo>
                    <a:pt x="18" y="39"/>
                    <a:pt x="12" y="31"/>
                    <a:pt x="6" y="23"/>
                  </a:cubicBezTo>
                  <a:cubicBezTo>
                    <a:pt x="0" y="14"/>
                    <a:pt x="1" y="3"/>
                    <a:pt x="12" y="1"/>
                  </a:cubicBezTo>
                  <a:cubicBezTo>
                    <a:pt x="15" y="0"/>
                    <a:pt x="20" y="1"/>
                    <a:pt x="23" y="5"/>
                  </a:cubicBezTo>
                  <a:cubicBezTo>
                    <a:pt x="23" y="5"/>
                    <a:pt x="24" y="5"/>
                    <a:pt x="24" y="5"/>
                  </a:cubicBezTo>
                  <a:cubicBezTo>
                    <a:pt x="27" y="1"/>
                    <a:pt x="32" y="0"/>
                    <a:pt x="35" y="1"/>
                  </a:cubicBezTo>
                  <a:cubicBezTo>
                    <a:pt x="46" y="3"/>
                    <a:pt x="47" y="14"/>
                    <a:pt x="41" y="23"/>
                  </a:cubicBezTo>
                  <a:cubicBezTo>
                    <a:pt x="35" y="31"/>
                    <a:pt x="28" y="39"/>
                    <a:pt x="23" y="4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3" name="Freeform 18"/>
            <p:cNvSpPr>
              <a:spLocks/>
            </p:cNvSpPr>
            <p:nvPr/>
          </p:nvSpPr>
          <p:spPr bwMode="auto">
            <a:xfrm>
              <a:off x="-6472" y="10457"/>
              <a:ext cx="89" cy="87"/>
            </a:xfrm>
            <a:custGeom>
              <a:avLst/>
              <a:gdLst>
                <a:gd name="T0" fmla="*/ 24 w 47"/>
                <a:gd name="T1" fmla="*/ 46 h 46"/>
                <a:gd name="T2" fmla="*/ 6 w 47"/>
                <a:gd name="T3" fmla="*/ 23 h 46"/>
                <a:gd name="T4" fmla="*/ 12 w 47"/>
                <a:gd name="T5" fmla="*/ 0 h 46"/>
                <a:gd name="T6" fmla="*/ 23 w 47"/>
                <a:gd name="T7" fmla="*/ 4 h 46"/>
                <a:gd name="T8" fmla="*/ 24 w 47"/>
                <a:gd name="T9" fmla="*/ 4 h 46"/>
                <a:gd name="T10" fmla="*/ 35 w 47"/>
                <a:gd name="T11" fmla="*/ 0 h 46"/>
                <a:gd name="T12" fmla="*/ 41 w 47"/>
                <a:gd name="T13" fmla="*/ 23 h 46"/>
                <a:gd name="T14" fmla="*/ 24 w 47"/>
                <a:gd name="T15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6">
                  <a:moveTo>
                    <a:pt x="24" y="46"/>
                  </a:moveTo>
                  <a:cubicBezTo>
                    <a:pt x="19" y="38"/>
                    <a:pt x="12" y="31"/>
                    <a:pt x="6" y="23"/>
                  </a:cubicBezTo>
                  <a:cubicBezTo>
                    <a:pt x="0" y="14"/>
                    <a:pt x="1" y="2"/>
                    <a:pt x="12" y="0"/>
                  </a:cubicBezTo>
                  <a:cubicBezTo>
                    <a:pt x="16" y="0"/>
                    <a:pt x="20" y="1"/>
                    <a:pt x="23" y="4"/>
                  </a:cubicBezTo>
                  <a:cubicBezTo>
                    <a:pt x="24" y="5"/>
                    <a:pt x="24" y="5"/>
                    <a:pt x="24" y="4"/>
                  </a:cubicBezTo>
                  <a:cubicBezTo>
                    <a:pt x="28" y="1"/>
                    <a:pt x="32" y="0"/>
                    <a:pt x="35" y="0"/>
                  </a:cubicBezTo>
                  <a:cubicBezTo>
                    <a:pt x="46" y="2"/>
                    <a:pt x="47" y="14"/>
                    <a:pt x="41" y="23"/>
                  </a:cubicBezTo>
                  <a:cubicBezTo>
                    <a:pt x="36" y="31"/>
                    <a:pt x="29" y="38"/>
                    <a:pt x="24" y="4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4" name="Freeform 19"/>
            <p:cNvSpPr>
              <a:spLocks/>
            </p:cNvSpPr>
            <p:nvPr/>
          </p:nvSpPr>
          <p:spPr bwMode="auto">
            <a:xfrm>
              <a:off x="-6321" y="9987"/>
              <a:ext cx="89" cy="89"/>
            </a:xfrm>
            <a:custGeom>
              <a:avLst/>
              <a:gdLst>
                <a:gd name="T0" fmla="*/ 23 w 47"/>
                <a:gd name="T1" fmla="*/ 47 h 47"/>
                <a:gd name="T2" fmla="*/ 6 w 47"/>
                <a:gd name="T3" fmla="*/ 24 h 47"/>
                <a:gd name="T4" fmla="*/ 12 w 47"/>
                <a:gd name="T5" fmla="*/ 1 h 47"/>
                <a:gd name="T6" fmla="*/ 23 w 47"/>
                <a:gd name="T7" fmla="*/ 5 h 47"/>
                <a:gd name="T8" fmla="*/ 24 w 47"/>
                <a:gd name="T9" fmla="*/ 5 h 47"/>
                <a:gd name="T10" fmla="*/ 35 w 47"/>
                <a:gd name="T11" fmla="*/ 1 h 47"/>
                <a:gd name="T12" fmla="*/ 41 w 47"/>
                <a:gd name="T13" fmla="*/ 24 h 47"/>
                <a:gd name="T14" fmla="*/ 23 w 47"/>
                <a:gd name="T15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7">
                  <a:moveTo>
                    <a:pt x="23" y="47"/>
                  </a:moveTo>
                  <a:cubicBezTo>
                    <a:pt x="18" y="39"/>
                    <a:pt x="12" y="32"/>
                    <a:pt x="6" y="24"/>
                  </a:cubicBezTo>
                  <a:cubicBezTo>
                    <a:pt x="0" y="15"/>
                    <a:pt x="1" y="3"/>
                    <a:pt x="12" y="1"/>
                  </a:cubicBezTo>
                  <a:cubicBezTo>
                    <a:pt x="15" y="0"/>
                    <a:pt x="20" y="2"/>
                    <a:pt x="23" y="5"/>
                  </a:cubicBezTo>
                  <a:cubicBezTo>
                    <a:pt x="23" y="5"/>
                    <a:pt x="24" y="5"/>
                    <a:pt x="24" y="5"/>
                  </a:cubicBezTo>
                  <a:cubicBezTo>
                    <a:pt x="27" y="2"/>
                    <a:pt x="32" y="0"/>
                    <a:pt x="35" y="1"/>
                  </a:cubicBezTo>
                  <a:cubicBezTo>
                    <a:pt x="46" y="3"/>
                    <a:pt x="47" y="15"/>
                    <a:pt x="41" y="24"/>
                  </a:cubicBezTo>
                  <a:cubicBezTo>
                    <a:pt x="35" y="32"/>
                    <a:pt x="28" y="39"/>
                    <a:pt x="23" y="4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6" name="Freeform 20"/>
            <p:cNvSpPr>
              <a:spLocks/>
            </p:cNvSpPr>
            <p:nvPr/>
          </p:nvSpPr>
          <p:spPr bwMode="auto">
            <a:xfrm>
              <a:off x="-6310" y="10701"/>
              <a:ext cx="89" cy="88"/>
            </a:xfrm>
            <a:custGeom>
              <a:avLst/>
              <a:gdLst>
                <a:gd name="T0" fmla="*/ 23 w 47"/>
                <a:gd name="T1" fmla="*/ 47 h 47"/>
                <a:gd name="T2" fmla="*/ 6 w 47"/>
                <a:gd name="T3" fmla="*/ 23 h 47"/>
                <a:gd name="T4" fmla="*/ 11 w 47"/>
                <a:gd name="T5" fmla="*/ 1 h 47"/>
                <a:gd name="T6" fmla="*/ 22 w 47"/>
                <a:gd name="T7" fmla="*/ 5 h 47"/>
                <a:gd name="T8" fmla="*/ 24 w 47"/>
                <a:gd name="T9" fmla="*/ 5 h 47"/>
                <a:gd name="T10" fmla="*/ 35 w 47"/>
                <a:gd name="T11" fmla="*/ 1 h 47"/>
                <a:gd name="T12" fmla="*/ 40 w 47"/>
                <a:gd name="T13" fmla="*/ 23 h 47"/>
                <a:gd name="T14" fmla="*/ 23 w 47"/>
                <a:gd name="T15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7">
                  <a:moveTo>
                    <a:pt x="23" y="47"/>
                  </a:moveTo>
                  <a:cubicBezTo>
                    <a:pt x="18" y="39"/>
                    <a:pt x="11" y="31"/>
                    <a:pt x="6" y="23"/>
                  </a:cubicBezTo>
                  <a:cubicBezTo>
                    <a:pt x="0" y="14"/>
                    <a:pt x="1" y="3"/>
                    <a:pt x="11" y="1"/>
                  </a:cubicBezTo>
                  <a:cubicBezTo>
                    <a:pt x="15" y="0"/>
                    <a:pt x="19" y="1"/>
                    <a:pt x="22" y="5"/>
                  </a:cubicBezTo>
                  <a:cubicBezTo>
                    <a:pt x="23" y="5"/>
                    <a:pt x="23" y="5"/>
                    <a:pt x="24" y="5"/>
                  </a:cubicBezTo>
                  <a:cubicBezTo>
                    <a:pt x="27" y="1"/>
                    <a:pt x="31" y="0"/>
                    <a:pt x="35" y="1"/>
                  </a:cubicBezTo>
                  <a:cubicBezTo>
                    <a:pt x="45" y="3"/>
                    <a:pt x="47" y="14"/>
                    <a:pt x="40" y="23"/>
                  </a:cubicBezTo>
                  <a:cubicBezTo>
                    <a:pt x="35" y="31"/>
                    <a:pt x="28" y="39"/>
                    <a:pt x="23" y="4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7" name="Freeform 21"/>
            <p:cNvSpPr>
              <a:spLocks/>
            </p:cNvSpPr>
            <p:nvPr/>
          </p:nvSpPr>
          <p:spPr bwMode="auto">
            <a:xfrm>
              <a:off x="-6565" y="9899"/>
              <a:ext cx="25" cy="1509"/>
            </a:xfrm>
            <a:custGeom>
              <a:avLst/>
              <a:gdLst>
                <a:gd name="T0" fmla="*/ 6 w 13"/>
                <a:gd name="T1" fmla="*/ 0 h 800"/>
                <a:gd name="T2" fmla="*/ 13 w 13"/>
                <a:gd name="T3" fmla="*/ 1 h 800"/>
                <a:gd name="T4" fmla="*/ 13 w 13"/>
                <a:gd name="T5" fmla="*/ 798 h 800"/>
                <a:gd name="T6" fmla="*/ 6 w 13"/>
                <a:gd name="T7" fmla="*/ 800 h 800"/>
                <a:gd name="T8" fmla="*/ 0 w 13"/>
                <a:gd name="T9" fmla="*/ 798 h 800"/>
                <a:gd name="T10" fmla="*/ 0 w 13"/>
                <a:gd name="T11" fmla="*/ 1 h 800"/>
                <a:gd name="T12" fmla="*/ 6 w 13"/>
                <a:gd name="T13" fmla="*/ 0 h 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800">
                  <a:moveTo>
                    <a:pt x="6" y="0"/>
                  </a:moveTo>
                  <a:cubicBezTo>
                    <a:pt x="6" y="0"/>
                    <a:pt x="11" y="0"/>
                    <a:pt x="13" y="1"/>
                  </a:cubicBezTo>
                  <a:lnTo>
                    <a:pt x="13" y="798"/>
                  </a:lnTo>
                  <a:cubicBezTo>
                    <a:pt x="8" y="800"/>
                    <a:pt x="6" y="800"/>
                    <a:pt x="6" y="800"/>
                  </a:cubicBezTo>
                  <a:cubicBezTo>
                    <a:pt x="6" y="800"/>
                    <a:pt x="4" y="800"/>
                    <a:pt x="0" y="798"/>
                  </a:cubicBezTo>
                  <a:lnTo>
                    <a:pt x="0" y="1"/>
                  </a:lnTo>
                  <a:cubicBezTo>
                    <a:pt x="2" y="1"/>
                    <a:pt x="6" y="0"/>
                    <a:pt x="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8" name="Freeform 22"/>
            <p:cNvSpPr>
              <a:spLocks noEditPoints="1"/>
            </p:cNvSpPr>
            <p:nvPr/>
          </p:nvSpPr>
          <p:spPr bwMode="auto">
            <a:xfrm>
              <a:off x="-7379" y="10901"/>
              <a:ext cx="159" cy="170"/>
            </a:xfrm>
            <a:custGeom>
              <a:avLst/>
              <a:gdLst>
                <a:gd name="T0" fmla="*/ 71 w 84"/>
                <a:gd name="T1" fmla="*/ 42 h 90"/>
                <a:gd name="T2" fmla="*/ 68 w 84"/>
                <a:gd name="T3" fmla="*/ 34 h 90"/>
                <a:gd name="T4" fmla="*/ 49 w 84"/>
                <a:gd name="T5" fmla="*/ 40 h 90"/>
                <a:gd name="T6" fmla="*/ 51 w 84"/>
                <a:gd name="T7" fmla="*/ 47 h 90"/>
                <a:gd name="T8" fmla="*/ 64 w 84"/>
                <a:gd name="T9" fmla="*/ 52 h 90"/>
                <a:gd name="T10" fmla="*/ 71 w 84"/>
                <a:gd name="T11" fmla="*/ 42 h 90"/>
                <a:gd name="T12" fmla="*/ 43 w 84"/>
                <a:gd name="T13" fmla="*/ 50 h 90"/>
                <a:gd name="T14" fmla="*/ 41 w 84"/>
                <a:gd name="T15" fmla="*/ 43 h 90"/>
                <a:gd name="T16" fmla="*/ 22 w 84"/>
                <a:gd name="T17" fmla="*/ 49 h 90"/>
                <a:gd name="T18" fmla="*/ 19 w 84"/>
                <a:gd name="T19" fmla="*/ 57 h 90"/>
                <a:gd name="T20" fmla="*/ 35 w 84"/>
                <a:gd name="T21" fmla="*/ 66 h 90"/>
                <a:gd name="T22" fmla="*/ 43 w 84"/>
                <a:gd name="T23" fmla="*/ 50 h 90"/>
                <a:gd name="T24" fmla="*/ 14 w 84"/>
                <a:gd name="T25" fmla="*/ 65 h 90"/>
                <a:gd name="T26" fmla="*/ 7 w 84"/>
                <a:gd name="T27" fmla="*/ 44 h 90"/>
                <a:gd name="T28" fmla="*/ 0 w 84"/>
                <a:gd name="T29" fmla="*/ 22 h 90"/>
                <a:gd name="T30" fmla="*/ 7 w 84"/>
                <a:gd name="T31" fmla="*/ 20 h 90"/>
                <a:gd name="T32" fmla="*/ 12 w 84"/>
                <a:gd name="T33" fmla="*/ 32 h 90"/>
                <a:gd name="T34" fmla="*/ 62 w 84"/>
                <a:gd name="T35" fmla="*/ 16 h 90"/>
                <a:gd name="T36" fmla="*/ 58 w 84"/>
                <a:gd name="T37" fmla="*/ 3 h 90"/>
                <a:gd name="T38" fmla="*/ 65 w 84"/>
                <a:gd name="T39" fmla="*/ 0 h 90"/>
                <a:gd name="T40" fmla="*/ 79 w 84"/>
                <a:gd name="T41" fmla="*/ 41 h 90"/>
                <a:gd name="T42" fmla="*/ 70 w 84"/>
                <a:gd name="T43" fmla="*/ 72 h 90"/>
                <a:gd name="T44" fmla="*/ 53 w 84"/>
                <a:gd name="T45" fmla="*/ 65 h 90"/>
                <a:gd name="T46" fmla="*/ 41 w 84"/>
                <a:gd name="T47" fmla="*/ 86 h 90"/>
                <a:gd name="T48" fmla="*/ 14 w 84"/>
                <a:gd name="T49" fmla="*/ 65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4" h="90">
                  <a:moveTo>
                    <a:pt x="71" y="42"/>
                  </a:moveTo>
                  <a:cubicBezTo>
                    <a:pt x="70" y="39"/>
                    <a:pt x="69" y="37"/>
                    <a:pt x="68" y="34"/>
                  </a:cubicBezTo>
                  <a:lnTo>
                    <a:pt x="49" y="40"/>
                  </a:lnTo>
                  <a:lnTo>
                    <a:pt x="51" y="47"/>
                  </a:lnTo>
                  <a:cubicBezTo>
                    <a:pt x="53" y="53"/>
                    <a:pt x="59" y="54"/>
                    <a:pt x="64" y="52"/>
                  </a:cubicBezTo>
                  <a:cubicBezTo>
                    <a:pt x="69" y="51"/>
                    <a:pt x="73" y="48"/>
                    <a:pt x="71" y="42"/>
                  </a:cubicBezTo>
                  <a:close/>
                  <a:moveTo>
                    <a:pt x="43" y="50"/>
                  </a:moveTo>
                  <a:lnTo>
                    <a:pt x="41" y="43"/>
                  </a:lnTo>
                  <a:lnTo>
                    <a:pt x="22" y="49"/>
                  </a:lnTo>
                  <a:cubicBezTo>
                    <a:pt x="18" y="50"/>
                    <a:pt x="18" y="52"/>
                    <a:pt x="19" y="57"/>
                  </a:cubicBezTo>
                  <a:cubicBezTo>
                    <a:pt x="22" y="64"/>
                    <a:pt x="27" y="68"/>
                    <a:pt x="35" y="66"/>
                  </a:cubicBezTo>
                  <a:cubicBezTo>
                    <a:pt x="42" y="64"/>
                    <a:pt x="45" y="57"/>
                    <a:pt x="43" y="50"/>
                  </a:cubicBezTo>
                  <a:close/>
                  <a:moveTo>
                    <a:pt x="14" y="65"/>
                  </a:moveTo>
                  <a:cubicBezTo>
                    <a:pt x="11" y="58"/>
                    <a:pt x="10" y="51"/>
                    <a:pt x="7" y="44"/>
                  </a:cubicBezTo>
                  <a:lnTo>
                    <a:pt x="0" y="22"/>
                  </a:lnTo>
                  <a:lnTo>
                    <a:pt x="7" y="20"/>
                  </a:lnTo>
                  <a:lnTo>
                    <a:pt x="12" y="32"/>
                  </a:lnTo>
                  <a:lnTo>
                    <a:pt x="62" y="16"/>
                  </a:lnTo>
                  <a:lnTo>
                    <a:pt x="58" y="3"/>
                  </a:lnTo>
                  <a:lnTo>
                    <a:pt x="65" y="0"/>
                  </a:lnTo>
                  <a:cubicBezTo>
                    <a:pt x="70" y="14"/>
                    <a:pt x="75" y="27"/>
                    <a:pt x="79" y="41"/>
                  </a:cubicBezTo>
                  <a:cubicBezTo>
                    <a:pt x="84" y="56"/>
                    <a:pt x="81" y="68"/>
                    <a:pt x="70" y="72"/>
                  </a:cubicBezTo>
                  <a:cubicBezTo>
                    <a:pt x="64" y="74"/>
                    <a:pt x="57" y="70"/>
                    <a:pt x="53" y="65"/>
                  </a:cubicBezTo>
                  <a:cubicBezTo>
                    <a:pt x="53" y="74"/>
                    <a:pt x="50" y="83"/>
                    <a:pt x="41" y="86"/>
                  </a:cubicBezTo>
                  <a:cubicBezTo>
                    <a:pt x="27" y="90"/>
                    <a:pt x="17" y="77"/>
                    <a:pt x="14" y="6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9" name="Freeform 23"/>
            <p:cNvSpPr>
              <a:spLocks noEditPoints="1"/>
            </p:cNvSpPr>
            <p:nvPr/>
          </p:nvSpPr>
          <p:spPr bwMode="auto">
            <a:xfrm>
              <a:off x="-7315" y="11067"/>
              <a:ext cx="172" cy="192"/>
            </a:xfrm>
            <a:custGeom>
              <a:avLst/>
              <a:gdLst>
                <a:gd name="T0" fmla="*/ 71 w 91"/>
                <a:gd name="T1" fmla="*/ 36 h 102"/>
                <a:gd name="T2" fmla="*/ 70 w 91"/>
                <a:gd name="T3" fmla="*/ 32 h 102"/>
                <a:gd name="T4" fmla="*/ 46 w 91"/>
                <a:gd name="T5" fmla="*/ 44 h 102"/>
                <a:gd name="T6" fmla="*/ 48 w 91"/>
                <a:gd name="T7" fmla="*/ 47 h 102"/>
                <a:gd name="T8" fmla="*/ 65 w 91"/>
                <a:gd name="T9" fmla="*/ 52 h 102"/>
                <a:gd name="T10" fmla="*/ 71 w 91"/>
                <a:gd name="T11" fmla="*/ 36 h 102"/>
                <a:gd name="T12" fmla="*/ 29 w 91"/>
                <a:gd name="T13" fmla="*/ 102 h 102"/>
                <a:gd name="T14" fmla="*/ 25 w 91"/>
                <a:gd name="T15" fmla="*/ 90 h 102"/>
                <a:gd name="T16" fmla="*/ 43 w 91"/>
                <a:gd name="T17" fmla="*/ 50 h 102"/>
                <a:gd name="T18" fmla="*/ 42 w 91"/>
                <a:gd name="T19" fmla="*/ 47 h 102"/>
                <a:gd name="T20" fmla="*/ 22 w 91"/>
                <a:gd name="T21" fmla="*/ 57 h 102"/>
                <a:gd name="T22" fmla="*/ 25 w 91"/>
                <a:gd name="T23" fmla="*/ 65 h 102"/>
                <a:gd name="T24" fmla="*/ 19 w 91"/>
                <a:gd name="T25" fmla="*/ 68 h 102"/>
                <a:gd name="T26" fmla="*/ 10 w 91"/>
                <a:gd name="T27" fmla="*/ 52 h 102"/>
                <a:gd name="T28" fmla="*/ 0 w 91"/>
                <a:gd name="T29" fmla="*/ 33 h 102"/>
                <a:gd name="T30" fmla="*/ 7 w 91"/>
                <a:gd name="T31" fmla="*/ 30 h 102"/>
                <a:gd name="T32" fmla="*/ 13 w 91"/>
                <a:gd name="T33" fmla="*/ 40 h 102"/>
                <a:gd name="T34" fmla="*/ 60 w 91"/>
                <a:gd name="T35" fmla="*/ 15 h 102"/>
                <a:gd name="T36" fmla="*/ 53 w 91"/>
                <a:gd name="T37" fmla="*/ 3 h 102"/>
                <a:gd name="T38" fmla="*/ 60 w 91"/>
                <a:gd name="T39" fmla="*/ 0 h 102"/>
                <a:gd name="T40" fmla="*/ 71 w 91"/>
                <a:gd name="T41" fmla="*/ 19 h 102"/>
                <a:gd name="T42" fmla="*/ 80 w 91"/>
                <a:gd name="T43" fmla="*/ 33 h 102"/>
                <a:gd name="T44" fmla="*/ 76 w 91"/>
                <a:gd name="T45" fmla="*/ 70 h 102"/>
                <a:gd name="T46" fmla="*/ 53 w 91"/>
                <a:gd name="T47" fmla="*/ 65 h 102"/>
                <a:gd name="T48" fmla="*/ 35 w 91"/>
                <a:gd name="T49" fmla="*/ 94 h 102"/>
                <a:gd name="T50" fmla="*/ 36 w 91"/>
                <a:gd name="T51" fmla="*/ 101 h 102"/>
                <a:gd name="T52" fmla="*/ 29 w 91"/>
                <a:gd name="T53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91" h="102">
                  <a:moveTo>
                    <a:pt x="71" y="36"/>
                  </a:moveTo>
                  <a:lnTo>
                    <a:pt x="70" y="32"/>
                  </a:lnTo>
                  <a:lnTo>
                    <a:pt x="46" y="44"/>
                  </a:lnTo>
                  <a:lnTo>
                    <a:pt x="48" y="47"/>
                  </a:lnTo>
                  <a:cubicBezTo>
                    <a:pt x="51" y="55"/>
                    <a:pt x="59" y="55"/>
                    <a:pt x="65" y="52"/>
                  </a:cubicBezTo>
                  <a:cubicBezTo>
                    <a:pt x="71" y="49"/>
                    <a:pt x="75" y="43"/>
                    <a:pt x="71" y="36"/>
                  </a:cubicBezTo>
                  <a:close/>
                  <a:moveTo>
                    <a:pt x="29" y="102"/>
                  </a:moveTo>
                  <a:lnTo>
                    <a:pt x="25" y="90"/>
                  </a:lnTo>
                  <a:cubicBezTo>
                    <a:pt x="21" y="80"/>
                    <a:pt x="38" y="58"/>
                    <a:pt x="43" y="50"/>
                  </a:cubicBezTo>
                  <a:lnTo>
                    <a:pt x="42" y="47"/>
                  </a:lnTo>
                  <a:lnTo>
                    <a:pt x="22" y="57"/>
                  </a:lnTo>
                  <a:lnTo>
                    <a:pt x="25" y="65"/>
                  </a:lnTo>
                  <a:lnTo>
                    <a:pt x="19" y="68"/>
                  </a:lnTo>
                  <a:lnTo>
                    <a:pt x="10" y="52"/>
                  </a:lnTo>
                  <a:lnTo>
                    <a:pt x="0" y="33"/>
                  </a:lnTo>
                  <a:lnTo>
                    <a:pt x="7" y="30"/>
                  </a:lnTo>
                  <a:lnTo>
                    <a:pt x="13" y="40"/>
                  </a:lnTo>
                  <a:lnTo>
                    <a:pt x="60" y="15"/>
                  </a:lnTo>
                  <a:lnTo>
                    <a:pt x="53" y="3"/>
                  </a:lnTo>
                  <a:lnTo>
                    <a:pt x="60" y="0"/>
                  </a:lnTo>
                  <a:cubicBezTo>
                    <a:pt x="64" y="6"/>
                    <a:pt x="68" y="14"/>
                    <a:pt x="71" y="19"/>
                  </a:cubicBezTo>
                  <a:cubicBezTo>
                    <a:pt x="72" y="20"/>
                    <a:pt x="78" y="29"/>
                    <a:pt x="80" y="33"/>
                  </a:cubicBezTo>
                  <a:cubicBezTo>
                    <a:pt x="91" y="54"/>
                    <a:pt x="87" y="64"/>
                    <a:pt x="76" y="70"/>
                  </a:cubicBezTo>
                  <a:cubicBezTo>
                    <a:pt x="67" y="75"/>
                    <a:pt x="59" y="73"/>
                    <a:pt x="53" y="65"/>
                  </a:cubicBezTo>
                  <a:cubicBezTo>
                    <a:pt x="51" y="67"/>
                    <a:pt x="34" y="92"/>
                    <a:pt x="35" y="94"/>
                  </a:cubicBezTo>
                  <a:cubicBezTo>
                    <a:pt x="35" y="97"/>
                    <a:pt x="35" y="97"/>
                    <a:pt x="36" y="101"/>
                  </a:cubicBezTo>
                  <a:lnTo>
                    <a:pt x="29" y="102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0" name="Freeform 24"/>
            <p:cNvSpPr>
              <a:spLocks noEditPoints="1"/>
            </p:cNvSpPr>
            <p:nvPr/>
          </p:nvSpPr>
          <p:spPr bwMode="auto">
            <a:xfrm>
              <a:off x="-7226" y="11254"/>
              <a:ext cx="163" cy="149"/>
            </a:xfrm>
            <a:custGeom>
              <a:avLst/>
              <a:gdLst>
                <a:gd name="T0" fmla="*/ 63 w 86"/>
                <a:gd name="T1" fmla="*/ 12 h 79"/>
                <a:gd name="T2" fmla="*/ 42 w 86"/>
                <a:gd name="T3" fmla="*/ 18 h 79"/>
                <a:gd name="T4" fmla="*/ 51 w 86"/>
                <a:gd name="T5" fmla="*/ 30 h 79"/>
                <a:gd name="T6" fmla="*/ 63 w 86"/>
                <a:gd name="T7" fmla="*/ 12 h 79"/>
                <a:gd name="T8" fmla="*/ 40 w 86"/>
                <a:gd name="T9" fmla="*/ 68 h 79"/>
                <a:gd name="T10" fmla="*/ 26 w 86"/>
                <a:gd name="T11" fmla="*/ 50 h 79"/>
                <a:gd name="T12" fmla="*/ 31 w 86"/>
                <a:gd name="T13" fmla="*/ 46 h 79"/>
                <a:gd name="T14" fmla="*/ 38 w 86"/>
                <a:gd name="T15" fmla="*/ 53 h 79"/>
                <a:gd name="T16" fmla="*/ 47 w 86"/>
                <a:gd name="T17" fmla="*/ 38 h 79"/>
                <a:gd name="T18" fmla="*/ 33 w 86"/>
                <a:gd name="T19" fmla="*/ 21 h 79"/>
                <a:gd name="T20" fmla="*/ 16 w 86"/>
                <a:gd name="T21" fmla="*/ 26 h 79"/>
                <a:gd name="T22" fmla="*/ 23 w 86"/>
                <a:gd name="T23" fmla="*/ 36 h 79"/>
                <a:gd name="T24" fmla="*/ 18 w 86"/>
                <a:gd name="T25" fmla="*/ 40 h 79"/>
                <a:gd name="T26" fmla="*/ 8 w 86"/>
                <a:gd name="T27" fmla="*/ 28 h 79"/>
                <a:gd name="T28" fmla="*/ 0 w 86"/>
                <a:gd name="T29" fmla="*/ 18 h 79"/>
                <a:gd name="T30" fmla="*/ 5 w 86"/>
                <a:gd name="T31" fmla="*/ 14 h 79"/>
                <a:gd name="T32" fmla="*/ 10 w 86"/>
                <a:gd name="T33" fmla="*/ 18 h 79"/>
                <a:gd name="T34" fmla="*/ 73 w 86"/>
                <a:gd name="T35" fmla="*/ 0 h 79"/>
                <a:gd name="T36" fmla="*/ 84 w 86"/>
                <a:gd name="T37" fmla="*/ 4 h 79"/>
                <a:gd name="T38" fmla="*/ 86 w 86"/>
                <a:gd name="T39" fmla="*/ 7 h 79"/>
                <a:gd name="T40" fmla="*/ 51 w 86"/>
                <a:gd name="T41" fmla="*/ 69 h 79"/>
                <a:gd name="T42" fmla="*/ 54 w 86"/>
                <a:gd name="T43" fmla="*/ 75 h 79"/>
                <a:gd name="T44" fmla="*/ 49 w 86"/>
                <a:gd name="T45" fmla="*/ 79 h 79"/>
                <a:gd name="T46" fmla="*/ 40 w 86"/>
                <a:gd name="T47" fmla="*/ 68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6" h="79">
                  <a:moveTo>
                    <a:pt x="63" y="12"/>
                  </a:moveTo>
                  <a:lnTo>
                    <a:pt x="42" y="18"/>
                  </a:lnTo>
                  <a:lnTo>
                    <a:pt x="51" y="30"/>
                  </a:lnTo>
                  <a:lnTo>
                    <a:pt x="63" y="12"/>
                  </a:lnTo>
                  <a:close/>
                  <a:moveTo>
                    <a:pt x="40" y="68"/>
                  </a:moveTo>
                  <a:lnTo>
                    <a:pt x="26" y="50"/>
                  </a:lnTo>
                  <a:lnTo>
                    <a:pt x="31" y="46"/>
                  </a:lnTo>
                  <a:lnTo>
                    <a:pt x="38" y="53"/>
                  </a:lnTo>
                  <a:lnTo>
                    <a:pt x="47" y="38"/>
                  </a:lnTo>
                  <a:lnTo>
                    <a:pt x="33" y="21"/>
                  </a:lnTo>
                  <a:lnTo>
                    <a:pt x="16" y="26"/>
                  </a:lnTo>
                  <a:lnTo>
                    <a:pt x="23" y="36"/>
                  </a:lnTo>
                  <a:lnTo>
                    <a:pt x="18" y="40"/>
                  </a:lnTo>
                  <a:lnTo>
                    <a:pt x="8" y="28"/>
                  </a:lnTo>
                  <a:lnTo>
                    <a:pt x="0" y="18"/>
                  </a:lnTo>
                  <a:lnTo>
                    <a:pt x="5" y="14"/>
                  </a:lnTo>
                  <a:lnTo>
                    <a:pt x="10" y="18"/>
                  </a:lnTo>
                  <a:lnTo>
                    <a:pt x="73" y="0"/>
                  </a:lnTo>
                  <a:cubicBezTo>
                    <a:pt x="76" y="2"/>
                    <a:pt x="81" y="3"/>
                    <a:pt x="84" y="4"/>
                  </a:cubicBezTo>
                  <a:lnTo>
                    <a:pt x="86" y="7"/>
                  </a:lnTo>
                  <a:lnTo>
                    <a:pt x="51" y="69"/>
                  </a:lnTo>
                  <a:lnTo>
                    <a:pt x="54" y="75"/>
                  </a:lnTo>
                  <a:lnTo>
                    <a:pt x="49" y="79"/>
                  </a:lnTo>
                  <a:lnTo>
                    <a:pt x="40" y="68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1" name="Freeform 25"/>
            <p:cNvSpPr>
              <a:spLocks/>
            </p:cNvSpPr>
            <p:nvPr/>
          </p:nvSpPr>
          <p:spPr bwMode="auto">
            <a:xfrm>
              <a:off x="-7086" y="11325"/>
              <a:ext cx="185" cy="183"/>
            </a:xfrm>
            <a:custGeom>
              <a:avLst/>
              <a:gdLst>
                <a:gd name="T0" fmla="*/ 85 w 98"/>
                <a:gd name="T1" fmla="*/ 56 h 97"/>
                <a:gd name="T2" fmla="*/ 61 w 98"/>
                <a:gd name="T3" fmla="*/ 84 h 97"/>
                <a:gd name="T4" fmla="*/ 20 w 98"/>
                <a:gd name="T5" fmla="*/ 84 h 97"/>
                <a:gd name="T6" fmla="*/ 9 w 98"/>
                <a:gd name="T7" fmla="*/ 44 h 97"/>
                <a:gd name="T8" fmla="*/ 35 w 98"/>
                <a:gd name="T9" fmla="*/ 14 h 97"/>
                <a:gd name="T10" fmla="*/ 26 w 98"/>
                <a:gd name="T11" fmla="*/ 6 h 97"/>
                <a:gd name="T12" fmla="*/ 30 w 98"/>
                <a:gd name="T13" fmla="*/ 0 h 97"/>
                <a:gd name="T14" fmla="*/ 46 w 98"/>
                <a:gd name="T15" fmla="*/ 14 h 97"/>
                <a:gd name="T16" fmla="*/ 64 w 98"/>
                <a:gd name="T17" fmla="*/ 28 h 97"/>
                <a:gd name="T18" fmla="*/ 59 w 98"/>
                <a:gd name="T19" fmla="*/ 34 h 97"/>
                <a:gd name="T20" fmla="*/ 50 w 98"/>
                <a:gd name="T21" fmla="*/ 27 h 97"/>
                <a:gd name="T22" fmla="*/ 26 w 98"/>
                <a:gd name="T23" fmla="*/ 54 h 97"/>
                <a:gd name="T24" fmla="*/ 27 w 98"/>
                <a:gd name="T25" fmla="*/ 78 h 97"/>
                <a:gd name="T26" fmla="*/ 53 w 98"/>
                <a:gd name="T27" fmla="*/ 77 h 97"/>
                <a:gd name="T28" fmla="*/ 77 w 98"/>
                <a:gd name="T29" fmla="*/ 49 h 97"/>
                <a:gd name="T30" fmla="*/ 69 w 98"/>
                <a:gd name="T31" fmla="*/ 41 h 97"/>
                <a:gd name="T32" fmla="*/ 73 w 98"/>
                <a:gd name="T33" fmla="*/ 36 h 97"/>
                <a:gd name="T34" fmla="*/ 85 w 98"/>
                <a:gd name="T35" fmla="*/ 46 h 97"/>
                <a:gd name="T36" fmla="*/ 98 w 98"/>
                <a:gd name="T37" fmla="*/ 57 h 97"/>
                <a:gd name="T38" fmla="*/ 93 w 98"/>
                <a:gd name="T39" fmla="*/ 62 h 97"/>
                <a:gd name="T40" fmla="*/ 85 w 98"/>
                <a:gd name="T41" fmla="*/ 56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8" h="97">
                  <a:moveTo>
                    <a:pt x="85" y="56"/>
                  </a:moveTo>
                  <a:lnTo>
                    <a:pt x="61" y="84"/>
                  </a:lnTo>
                  <a:cubicBezTo>
                    <a:pt x="50" y="97"/>
                    <a:pt x="36" y="97"/>
                    <a:pt x="20" y="84"/>
                  </a:cubicBezTo>
                  <a:cubicBezTo>
                    <a:pt x="5" y="72"/>
                    <a:pt x="0" y="55"/>
                    <a:pt x="9" y="44"/>
                  </a:cubicBezTo>
                  <a:lnTo>
                    <a:pt x="35" y="14"/>
                  </a:lnTo>
                  <a:lnTo>
                    <a:pt x="26" y="6"/>
                  </a:lnTo>
                  <a:lnTo>
                    <a:pt x="30" y="0"/>
                  </a:lnTo>
                  <a:lnTo>
                    <a:pt x="46" y="14"/>
                  </a:lnTo>
                  <a:lnTo>
                    <a:pt x="64" y="28"/>
                  </a:lnTo>
                  <a:lnTo>
                    <a:pt x="59" y="34"/>
                  </a:lnTo>
                  <a:lnTo>
                    <a:pt x="50" y="27"/>
                  </a:lnTo>
                  <a:lnTo>
                    <a:pt x="26" y="54"/>
                  </a:lnTo>
                  <a:cubicBezTo>
                    <a:pt x="18" y="65"/>
                    <a:pt x="23" y="74"/>
                    <a:pt x="27" y="78"/>
                  </a:cubicBezTo>
                  <a:cubicBezTo>
                    <a:pt x="32" y="82"/>
                    <a:pt x="45" y="87"/>
                    <a:pt x="53" y="77"/>
                  </a:cubicBezTo>
                  <a:lnTo>
                    <a:pt x="77" y="49"/>
                  </a:lnTo>
                  <a:lnTo>
                    <a:pt x="69" y="41"/>
                  </a:lnTo>
                  <a:lnTo>
                    <a:pt x="73" y="36"/>
                  </a:lnTo>
                  <a:lnTo>
                    <a:pt x="85" y="46"/>
                  </a:lnTo>
                  <a:lnTo>
                    <a:pt x="98" y="57"/>
                  </a:lnTo>
                  <a:lnTo>
                    <a:pt x="93" y="62"/>
                  </a:lnTo>
                  <a:lnTo>
                    <a:pt x="85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2" name="Freeform 26"/>
            <p:cNvSpPr>
              <a:spLocks/>
            </p:cNvSpPr>
            <p:nvPr/>
          </p:nvSpPr>
          <p:spPr bwMode="auto">
            <a:xfrm>
              <a:off x="-6927" y="11448"/>
              <a:ext cx="200" cy="179"/>
            </a:xfrm>
            <a:custGeom>
              <a:avLst/>
              <a:gdLst>
                <a:gd name="T0" fmla="*/ 93 w 106"/>
                <a:gd name="T1" fmla="*/ 38 h 95"/>
                <a:gd name="T2" fmla="*/ 67 w 106"/>
                <a:gd name="T3" fmla="*/ 95 h 95"/>
                <a:gd name="T4" fmla="*/ 56 w 106"/>
                <a:gd name="T5" fmla="*/ 90 h 95"/>
                <a:gd name="T6" fmla="*/ 39 w 106"/>
                <a:gd name="T7" fmla="*/ 29 h 95"/>
                <a:gd name="T8" fmla="*/ 23 w 106"/>
                <a:gd name="T9" fmla="*/ 66 h 95"/>
                <a:gd name="T10" fmla="*/ 32 w 106"/>
                <a:gd name="T11" fmla="*/ 71 h 95"/>
                <a:gd name="T12" fmla="*/ 29 w 106"/>
                <a:gd name="T13" fmla="*/ 77 h 95"/>
                <a:gd name="T14" fmla="*/ 16 w 106"/>
                <a:gd name="T15" fmla="*/ 71 h 95"/>
                <a:gd name="T16" fmla="*/ 0 w 106"/>
                <a:gd name="T17" fmla="*/ 64 h 95"/>
                <a:gd name="T18" fmla="*/ 3 w 106"/>
                <a:gd name="T19" fmla="*/ 58 h 95"/>
                <a:gd name="T20" fmla="*/ 13 w 106"/>
                <a:gd name="T21" fmla="*/ 62 h 95"/>
                <a:gd name="T22" fmla="*/ 34 w 106"/>
                <a:gd name="T23" fmla="*/ 14 h 95"/>
                <a:gd name="T24" fmla="*/ 24 w 106"/>
                <a:gd name="T25" fmla="*/ 7 h 95"/>
                <a:gd name="T26" fmla="*/ 27 w 106"/>
                <a:gd name="T27" fmla="*/ 0 h 95"/>
                <a:gd name="T28" fmla="*/ 53 w 106"/>
                <a:gd name="T29" fmla="*/ 12 h 95"/>
                <a:gd name="T30" fmla="*/ 68 w 106"/>
                <a:gd name="T31" fmla="*/ 67 h 95"/>
                <a:gd name="T32" fmla="*/ 83 w 106"/>
                <a:gd name="T33" fmla="*/ 34 h 95"/>
                <a:gd name="T34" fmla="*/ 74 w 106"/>
                <a:gd name="T35" fmla="*/ 29 h 95"/>
                <a:gd name="T36" fmla="*/ 77 w 106"/>
                <a:gd name="T37" fmla="*/ 22 h 95"/>
                <a:gd name="T38" fmla="*/ 90 w 106"/>
                <a:gd name="T39" fmla="*/ 29 h 95"/>
                <a:gd name="T40" fmla="*/ 106 w 106"/>
                <a:gd name="T41" fmla="*/ 35 h 95"/>
                <a:gd name="T42" fmla="*/ 103 w 106"/>
                <a:gd name="T43" fmla="*/ 42 h 95"/>
                <a:gd name="T44" fmla="*/ 93 w 106"/>
                <a:gd name="T45" fmla="*/ 38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6" h="95">
                  <a:moveTo>
                    <a:pt x="93" y="38"/>
                  </a:moveTo>
                  <a:lnTo>
                    <a:pt x="67" y="95"/>
                  </a:lnTo>
                  <a:lnTo>
                    <a:pt x="56" y="90"/>
                  </a:lnTo>
                  <a:lnTo>
                    <a:pt x="39" y="29"/>
                  </a:lnTo>
                  <a:lnTo>
                    <a:pt x="23" y="66"/>
                  </a:lnTo>
                  <a:lnTo>
                    <a:pt x="32" y="71"/>
                  </a:lnTo>
                  <a:lnTo>
                    <a:pt x="29" y="77"/>
                  </a:lnTo>
                  <a:lnTo>
                    <a:pt x="16" y="71"/>
                  </a:lnTo>
                  <a:lnTo>
                    <a:pt x="0" y="64"/>
                  </a:lnTo>
                  <a:lnTo>
                    <a:pt x="3" y="58"/>
                  </a:lnTo>
                  <a:lnTo>
                    <a:pt x="13" y="62"/>
                  </a:lnTo>
                  <a:lnTo>
                    <a:pt x="34" y="14"/>
                  </a:lnTo>
                  <a:cubicBezTo>
                    <a:pt x="33" y="11"/>
                    <a:pt x="30" y="10"/>
                    <a:pt x="24" y="7"/>
                  </a:cubicBezTo>
                  <a:lnTo>
                    <a:pt x="27" y="0"/>
                  </a:lnTo>
                  <a:lnTo>
                    <a:pt x="53" y="12"/>
                  </a:lnTo>
                  <a:lnTo>
                    <a:pt x="68" y="67"/>
                  </a:lnTo>
                  <a:lnTo>
                    <a:pt x="83" y="34"/>
                  </a:lnTo>
                  <a:lnTo>
                    <a:pt x="74" y="29"/>
                  </a:lnTo>
                  <a:lnTo>
                    <a:pt x="77" y="22"/>
                  </a:lnTo>
                  <a:lnTo>
                    <a:pt x="90" y="29"/>
                  </a:lnTo>
                  <a:lnTo>
                    <a:pt x="106" y="35"/>
                  </a:lnTo>
                  <a:lnTo>
                    <a:pt x="103" y="42"/>
                  </a:lnTo>
                  <a:lnTo>
                    <a:pt x="93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3" name="Freeform 27"/>
            <p:cNvSpPr>
              <a:spLocks/>
            </p:cNvSpPr>
            <p:nvPr/>
          </p:nvSpPr>
          <p:spPr bwMode="auto">
            <a:xfrm>
              <a:off x="-6712" y="11522"/>
              <a:ext cx="117" cy="145"/>
            </a:xfrm>
            <a:custGeom>
              <a:avLst/>
              <a:gdLst>
                <a:gd name="T0" fmla="*/ 27 w 62"/>
                <a:gd name="T1" fmla="*/ 74 h 77"/>
                <a:gd name="T2" fmla="*/ 8 w 62"/>
                <a:gd name="T3" fmla="*/ 69 h 77"/>
                <a:gd name="T4" fmla="*/ 7 w 62"/>
                <a:gd name="T5" fmla="*/ 71 h 77"/>
                <a:gd name="T6" fmla="*/ 0 w 62"/>
                <a:gd name="T7" fmla="*/ 69 h 77"/>
                <a:gd name="T8" fmla="*/ 2 w 62"/>
                <a:gd name="T9" fmla="*/ 65 h 77"/>
                <a:gd name="T10" fmla="*/ 5 w 62"/>
                <a:gd name="T11" fmla="*/ 48 h 77"/>
                <a:gd name="T12" fmla="*/ 12 w 62"/>
                <a:gd name="T13" fmla="*/ 49 h 77"/>
                <a:gd name="T14" fmla="*/ 24 w 62"/>
                <a:gd name="T15" fmla="*/ 66 h 77"/>
                <a:gd name="T16" fmla="*/ 37 w 62"/>
                <a:gd name="T17" fmla="*/ 59 h 77"/>
                <a:gd name="T18" fmla="*/ 19 w 62"/>
                <a:gd name="T19" fmla="*/ 39 h 77"/>
                <a:gd name="T20" fmla="*/ 9 w 62"/>
                <a:gd name="T21" fmla="*/ 17 h 77"/>
                <a:gd name="T22" fmla="*/ 38 w 62"/>
                <a:gd name="T23" fmla="*/ 2 h 77"/>
                <a:gd name="T24" fmla="*/ 54 w 62"/>
                <a:gd name="T25" fmla="*/ 6 h 77"/>
                <a:gd name="T26" fmla="*/ 55 w 62"/>
                <a:gd name="T27" fmla="*/ 3 h 77"/>
                <a:gd name="T28" fmla="*/ 62 w 62"/>
                <a:gd name="T29" fmla="*/ 4 h 77"/>
                <a:gd name="T30" fmla="*/ 58 w 62"/>
                <a:gd name="T31" fmla="*/ 25 h 77"/>
                <a:gd name="T32" fmla="*/ 51 w 62"/>
                <a:gd name="T33" fmla="*/ 24 h 77"/>
                <a:gd name="T34" fmla="*/ 40 w 62"/>
                <a:gd name="T35" fmla="*/ 10 h 77"/>
                <a:gd name="T36" fmla="*/ 29 w 62"/>
                <a:gd name="T37" fmla="*/ 18 h 77"/>
                <a:gd name="T38" fmla="*/ 44 w 62"/>
                <a:gd name="T39" fmla="*/ 36 h 77"/>
                <a:gd name="T40" fmla="*/ 56 w 62"/>
                <a:gd name="T41" fmla="*/ 59 h 77"/>
                <a:gd name="T42" fmla="*/ 27 w 62"/>
                <a:gd name="T43" fmla="*/ 74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2" h="77">
                  <a:moveTo>
                    <a:pt x="27" y="74"/>
                  </a:moveTo>
                  <a:cubicBezTo>
                    <a:pt x="20" y="73"/>
                    <a:pt x="16" y="72"/>
                    <a:pt x="8" y="69"/>
                  </a:cubicBezTo>
                  <a:lnTo>
                    <a:pt x="7" y="71"/>
                  </a:lnTo>
                  <a:lnTo>
                    <a:pt x="0" y="69"/>
                  </a:lnTo>
                  <a:lnTo>
                    <a:pt x="2" y="65"/>
                  </a:lnTo>
                  <a:lnTo>
                    <a:pt x="5" y="48"/>
                  </a:lnTo>
                  <a:lnTo>
                    <a:pt x="12" y="49"/>
                  </a:lnTo>
                  <a:cubicBezTo>
                    <a:pt x="11" y="59"/>
                    <a:pt x="16" y="65"/>
                    <a:pt x="24" y="66"/>
                  </a:cubicBezTo>
                  <a:cubicBezTo>
                    <a:pt x="32" y="68"/>
                    <a:pt x="36" y="64"/>
                    <a:pt x="37" y="59"/>
                  </a:cubicBezTo>
                  <a:cubicBezTo>
                    <a:pt x="38" y="52"/>
                    <a:pt x="27" y="46"/>
                    <a:pt x="19" y="39"/>
                  </a:cubicBezTo>
                  <a:cubicBezTo>
                    <a:pt x="13" y="33"/>
                    <a:pt x="8" y="25"/>
                    <a:pt x="9" y="17"/>
                  </a:cubicBezTo>
                  <a:cubicBezTo>
                    <a:pt x="11" y="5"/>
                    <a:pt x="22" y="0"/>
                    <a:pt x="38" y="2"/>
                  </a:cubicBezTo>
                  <a:cubicBezTo>
                    <a:pt x="42" y="3"/>
                    <a:pt x="50" y="5"/>
                    <a:pt x="54" y="6"/>
                  </a:cubicBezTo>
                  <a:lnTo>
                    <a:pt x="55" y="3"/>
                  </a:lnTo>
                  <a:lnTo>
                    <a:pt x="62" y="4"/>
                  </a:lnTo>
                  <a:lnTo>
                    <a:pt x="58" y="25"/>
                  </a:lnTo>
                  <a:lnTo>
                    <a:pt x="51" y="24"/>
                  </a:lnTo>
                  <a:cubicBezTo>
                    <a:pt x="52" y="16"/>
                    <a:pt x="48" y="11"/>
                    <a:pt x="40" y="10"/>
                  </a:cubicBezTo>
                  <a:cubicBezTo>
                    <a:pt x="32" y="9"/>
                    <a:pt x="30" y="14"/>
                    <a:pt x="29" y="18"/>
                  </a:cubicBezTo>
                  <a:cubicBezTo>
                    <a:pt x="28" y="24"/>
                    <a:pt x="36" y="29"/>
                    <a:pt x="44" y="36"/>
                  </a:cubicBezTo>
                  <a:cubicBezTo>
                    <a:pt x="51" y="42"/>
                    <a:pt x="58" y="50"/>
                    <a:pt x="56" y="59"/>
                  </a:cubicBezTo>
                  <a:cubicBezTo>
                    <a:pt x="54" y="72"/>
                    <a:pt x="42" y="77"/>
                    <a:pt x="27" y="7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4" name="Freeform 28"/>
            <p:cNvSpPr>
              <a:spLocks/>
            </p:cNvSpPr>
            <p:nvPr/>
          </p:nvSpPr>
          <p:spPr bwMode="auto">
            <a:xfrm>
              <a:off x="-6561" y="11522"/>
              <a:ext cx="138" cy="149"/>
            </a:xfrm>
            <a:custGeom>
              <a:avLst/>
              <a:gdLst>
                <a:gd name="T0" fmla="*/ 45 w 73"/>
                <a:gd name="T1" fmla="*/ 77 h 79"/>
                <a:gd name="T2" fmla="*/ 2 w 73"/>
                <a:gd name="T3" fmla="*/ 44 h 79"/>
                <a:gd name="T4" fmla="*/ 38 w 73"/>
                <a:gd name="T5" fmla="*/ 4 h 79"/>
                <a:gd name="T6" fmla="*/ 59 w 73"/>
                <a:gd name="T7" fmla="*/ 3 h 79"/>
                <a:gd name="T8" fmla="*/ 59 w 73"/>
                <a:gd name="T9" fmla="*/ 1 h 79"/>
                <a:gd name="T10" fmla="*/ 66 w 73"/>
                <a:gd name="T11" fmla="*/ 0 h 79"/>
                <a:gd name="T12" fmla="*/ 66 w 73"/>
                <a:gd name="T13" fmla="*/ 6 h 79"/>
                <a:gd name="T14" fmla="*/ 68 w 73"/>
                <a:gd name="T15" fmla="*/ 23 h 79"/>
                <a:gd name="T16" fmla="*/ 62 w 73"/>
                <a:gd name="T17" fmla="*/ 24 h 79"/>
                <a:gd name="T18" fmla="*/ 40 w 73"/>
                <a:gd name="T19" fmla="*/ 12 h 79"/>
                <a:gd name="T20" fmla="*/ 22 w 73"/>
                <a:gd name="T21" fmla="*/ 41 h 79"/>
                <a:gd name="T22" fmla="*/ 47 w 73"/>
                <a:gd name="T23" fmla="*/ 68 h 79"/>
                <a:gd name="T24" fmla="*/ 63 w 73"/>
                <a:gd name="T25" fmla="*/ 64 h 79"/>
                <a:gd name="T26" fmla="*/ 64 w 73"/>
                <a:gd name="T27" fmla="*/ 50 h 79"/>
                <a:gd name="T28" fmla="*/ 71 w 73"/>
                <a:gd name="T29" fmla="*/ 50 h 79"/>
                <a:gd name="T30" fmla="*/ 73 w 73"/>
                <a:gd name="T31" fmla="*/ 69 h 79"/>
                <a:gd name="T32" fmla="*/ 45 w 73"/>
                <a:gd name="T33" fmla="*/ 77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3" h="79">
                  <a:moveTo>
                    <a:pt x="45" y="77"/>
                  </a:moveTo>
                  <a:cubicBezTo>
                    <a:pt x="22" y="79"/>
                    <a:pt x="4" y="66"/>
                    <a:pt x="2" y="44"/>
                  </a:cubicBezTo>
                  <a:cubicBezTo>
                    <a:pt x="0" y="26"/>
                    <a:pt x="13" y="6"/>
                    <a:pt x="38" y="4"/>
                  </a:cubicBezTo>
                  <a:cubicBezTo>
                    <a:pt x="49" y="3"/>
                    <a:pt x="51" y="3"/>
                    <a:pt x="59" y="3"/>
                  </a:cubicBezTo>
                  <a:lnTo>
                    <a:pt x="59" y="1"/>
                  </a:lnTo>
                  <a:lnTo>
                    <a:pt x="66" y="0"/>
                  </a:lnTo>
                  <a:lnTo>
                    <a:pt x="66" y="6"/>
                  </a:lnTo>
                  <a:lnTo>
                    <a:pt x="68" y="23"/>
                  </a:lnTo>
                  <a:lnTo>
                    <a:pt x="62" y="24"/>
                  </a:lnTo>
                  <a:cubicBezTo>
                    <a:pt x="60" y="13"/>
                    <a:pt x="51" y="11"/>
                    <a:pt x="40" y="12"/>
                  </a:cubicBezTo>
                  <a:cubicBezTo>
                    <a:pt x="30" y="13"/>
                    <a:pt x="20" y="25"/>
                    <a:pt x="22" y="41"/>
                  </a:cubicBezTo>
                  <a:cubicBezTo>
                    <a:pt x="24" y="58"/>
                    <a:pt x="36" y="69"/>
                    <a:pt x="47" y="68"/>
                  </a:cubicBezTo>
                  <a:cubicBezTo>
                    <a:pt x="58" y="67"/>
                    <a:pt x="63" y="64"/>
                    <a:pt x="63" y="64"/>
                  </a:cubicBezTo>
                  <a:cubicBezTo>
                    <a:pt x="64" y="62"/>
                    <a:pt x="64" y="52"/>
                    <a:pt x="64" y="50"/>
                  </a:cubicBezTo>
                  <a:lnTo>
                    <a:pt x="71" y="50"/>
                  </a:lnTo>
                  <a:lnTo>
                    <a:pt x="73" y="69"/>
                  </a:lnTo>
                  <a:cubicBezTo>
                    <a:pt x="63" y="73"/>
                    <a:pt x="60" y="75"/>
                    <a:pt x="45" y="7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5" name="Freeform 29"/>
            <p:cNvSpPr>
              <a:spLocks/>
            </p:cNvSpPr>
            <p:nvPr/>
          </p:nvSpPr>
          <p:spPr bwMode="auto">
            <a:xfrm>
              <a:off x="-6400" y="11454"/>
              <a:ext cx="217" cy="190"/>
            </a:xfrm>
            <a:custGeom>
              <a:avLst/>
              <a:gdLst>
                <a:gd name="T0" fmla="*/ 181 w 217"/>
                <a:gd name="T1" fmla="*/ 135 h 190"/>
                <a:gd name="T2" fmla="*/ 143 w 217"/>
                <a:gd name="T3" fmla="*/ 152 h 190"/>
                <a:gd name="T4" fmla="*/ 138 w 217"/>
                <a:gd name="T5" fmla="*/ 139 h 190"/>
                <a:gd name="T6" fmla="*/ 158 w 217"/>
                <a:gd name="T7" fmla="*/ 130 h 190"/>
                <a:gd name="T8" fmla="*/ 141 w 217"/>
                <a:gd name="T9" fmla="*/ 90 h 190"/>
                <a:gd name="T10" fmla="*/ 83 w 217"/>
                <a:gd name="T11" fmla="*/ 113 h 190"/>
                <a:gd name="T12" fmla="*/ 100 w 217"/>
                <a:gd name="T13" fmla="*/ 154 h 190"/>
                <a:gd name="T14" fmla="*/ 121 w 217"/>
                <a:gd name="T15" fmla="*/ 147 h 190"/>
                <a:gd name="T16" fmla="*/ 124 w 217"/>
                <a:gd name="T17" fmla="*/ 160 h 190"/>
                <a:gd name="T18" fmla="*/ 89 w 217"/>
                <a:gd name="T19" fmla="*/ 173 h 190"/>
                <a:gd name="T20" fmla="*/ 51 w 217"/>
                <a:gd name="T21" fmla="*/ 190 h 190"/>
                <a:gd name="T22" fmla="*/ 45 w 217"/>
                <a:gd name="T23" fmla="*/ 177 h 190"/>
                <a:gd name="T24" fmla="*/ 64 w 217"/>
                <a:gd name="T25" fmla="*/ 168 h 190"/>
                <a:gd name="T26" fmla="*/ 26 w 217"/>
                <a:gd name="T27" fmla="*/ 75 h 190"/>
                <a:gd name="T28" fmla="*/ 5 w 217"/>
                <a:gd name="T29" fmla="*/ 81 h 190"/>
                <a:gd name="T30" fmla="*/ 0 w 217"/>
                <a:gd name="T31" fmla="*/ 69 h 190"/>
                <a:gd name="T32" fmla="*/ 38 w 217"/>
                <a:gd name="T33" fmla="*/ 54 h 190"/>
                <a:gd name="T34" fmla="*/ 75 w 217"/>
                <a:gd name="T35" fmla="*/ 37 h 190"/>
                <a:gd name="T36" fmla="*/ 79 w 217"/>
                <a:gd name="T37" fmla="*/ 51 h 190"/>
                <a:gd name="T38" fmla="*/ 60 w 217"/>
                <a:gd name="T39" fmla="*/ 60 h 190"/>
                <a:gd name="T40" fmla="*/ 77 w 217"/>
                <a:gd name="T41" fmla="*/ 100 h 190"/>
                <a:gd name="T42" fmla="*/ 136 w 217"/>
                <a:gd name="T43" fmla="*/ 75 h 190"/>
                <a:gd name="T44" fmla="*/ 119 w 217"/>
                <a:gd name="T45" fmla="*/ 35 h 190"/>
                <a:gd name="T46" fmla="*/ 98 w 217"/>
                <a:gd name="T47" fmla="*/ 43 h 190"/>
                <a:gd name="T48" fmla="*/ 92 w 217"/>
                <a:gd name="T49" fmla="*/ 30 h 190"/>
                <a:gd name="T50" fmla="*/ 130 w 217"/>
                <a:gd name="T51" fmla="*/ 17 h 190"/>
                <a:gd name="T52" fmla="*/ 168 w 217"/>
                <a:gd name="T53" fmla="*/ 0 h 190"/>
                <a:gd name="T54" fmla="*/ 172 w 217"/>
                <a:gd name="T55" fmla="*/ 13 h 190"/>
                <a:gd name="T56" fmla="*/ 153 w 217"/>
                <a:gd name="T57" fmla="*/ 22 h 190"/>
                <a:gd name="T58" fmla="*/ 191 w 217"/>
                <a:gd name="T59" fmla="*/ 115 h 190"/>
                <a:gd name="T60" fmla="*/ 213 w 217"/>
                <a:gd name="T61" fmla="*/ 109 h 190"/>
                <a:gd name="T62" fmla="*/ 217 w 217"/>
                <a:gd name="T63" fmla="*/ 120 h 190"/>
                <a:gd name="T64" fmla="*/ 181 w 217"/>
                <a:gd name="T65" fmla="*/ 135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17" h="190">
                  <a:moveTo>
                    <a:pt x="181" y="135"/>
                  </a:moveTo>
                  <a:lnTo>
                    <a:pt x="143" y="152"/>
                  </a:lnTo>
                  <a:lnTo>
                    <a:pt x="138" y="139"/>
                  </a:lnTo>
                  <a:lnTo>
                    <a:pt x="158" y="130"/>
                  </a:lnTo>
                  <a:lnTo>
                    <a:pt x="141" y="90"/>
                  </a:lnTo>
                  <a:lnTo>
                    <a:pt x="83" y="113"/>
                  </a:lnTo>
                  <a:lnTo>
                    <a:pt x="100" y="154"/>
                  </a:lnTo>
                  <a:lnTo>
                    <a:pt x="121" y="147"/>
                  </a:lnTo>
                  <a:lnTo>
                    <a:pt x="124" y="160"/>
                  </a:lnTo>
                  <a:lnTo>
                    <a:pt x="89" y="173"/>
                  </a:lnTo>
                  <a:lnTo>
                    <a:pt x="51" y="190"/>
                  </a:lnTo>
                  <a:lnTo>
                    <a:pt x="45" y="177"/>
                  </a:lnTo>
                  <a:lnTo>
                    <a:pt x="64" y="168"/>
                  </a:lnTo>
                  <a:lnTo>
                    <a:pt x="26" y="75"/>
                  </a:lnTo>
                  <a:lnTo>
                    <a:pt x="5" y="81"/>
                  </a:lnTo>
                  <a:lnTo>
                    <a:pt x="0" y="69"/>
                  </a:lnTo>
                  <a:lnTo>
                    <a:pt x="38" y="54"/>
                  </a:lnTo>
                  <a:lnTo>
                    <a:pt x="75" y="37"/>
                  </a:lnTo>
                  <a:lnTo>
                    <a:pt x="79" y="51"/>
                  </a:lnTo>
                  <a:lnTo>
                    <a:pt x="60" y="60"/>
                  </a:lnTo>
                  <a:lnTo>
                    <a:pt x="77" y="100"/>
                  </a:lnTo>
                  <a:lnTo>
                    <a:pt x="136" y="75"/>
                  </a:lnTo>
                  <a:lnTo>
                    <a:pt x="119" y="35"/>
                  </a:lnTo>
                  <a:lnTo>
                    <a:pt x="98" y="43"/>
                  </a:lnTo>
                  <a:lnTo>
                    <a:pt x="92" y="30"/>
                  </a:lnTo>
                  <a:lnTo>
                    <a:pt x="130" y="17"/>
                  </a:lnTo>
                  <a:lnTo>
                    <a:pt x="168" y="0"/>
                  </a:lnTo>
                  <a:lnTo>
                    <a:pt x="172" y="13"/>
                  </a:lnTo>
                  <a:lnTo>
                    <a:pt x="153" y="22"/>
                  </a:lnTo>
                  <a:lnTo>
                    <a:pt x="191" y="115"/>
                  </a:lnTo>
                  <a:lnTo>
                    <a:pt x="213" y="109"/>
                  </a:lnTo>
                  <a:lnTo>
                    <a:pt x="217" y="120"/>
                  </a:lnTo>
                  <a:lnTo>
                    <a:pt x="181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6" name="Freeform 30"/>
            <p:cNvSpPr>
              <a:spLocks/>
            </p:cNvSpPr>
            <p:nvPr/>
          </p:nvSpPr>
          <p:spPr bwMode="auto">
            <a:xfrm>
              <a:off x="-6209" y="11301"/>
              <a:ext cx="204" cy="202"/>
            </a:xfrm>
            <a:custGeom>
              <a:avLst/>
              <a:gdLst>
                <a:gd name="T0" fmla="*/ 160 w 204"/>
                <a:gd name="T1" fmla="*/ 21 h 202"/>
                <a:gd name="T2" fmla="*/ 204 w 204"/>
                <a:gd name="T3" fmla="*/ 143 h 202"/>
                <a:gd name="T4" fmla="*/ 187 w 204"/>
                <a:gd name="T5" fmla="*/ 156 h 202"/>
                <a:gd name="T6" fmla="*/ 132 w 204"/>
                <a:gd name="T7" fmla="*/ 128 h 202"/>
                <a:gd name="T8" fmla="*/ 153 w 204"/>
                <a:gd name="T9" fmla="*/ 187 h 202"/>
                <a:gd name="T10" fmla="*/ 136 w 204"/>
                <a:gd name="T11" fmla="*/ 202 h 202"/>
                <a:gd name="T12" fmla="*/ 18 w 204"/>
                <a:gd name="T13" fmla="*/ 143 h 202"/>
                <a:gd name="T14" fmla="*/ 7 w 204"/>
                <a:gd name="T15" fmla="*/ 151 h 202"/>
                <a:gd name="T16" fmla="*/ 0 w 204"/>
                <a:gd name="T17" fmla="*/ 141 h 202"/>
                <a:gd name="T18" fmla="*/ 22 w 204"/>
                <a:gd name="T19" fmla="*/ 122 h 202"/>
                <a:gd name="T20" fmla="*/ 47 w 204"/>
                <a:gd name="T21" fmla="*/ 100 h 202"/>
                <a:gd name="T22" fmla="*/ 54 w 204"/>
                <a:gd name="T23" fmla="*/ 111 h 202"/>
                <a:gd name="T24" fmla="*/ 47 w 204"/>
                <a:gd name="T25" fmla="*/ 119 h 202"/>
                <a:gd name="T26" fmla="*/ 126 w 204"/>
                <a:gd name="T27" fmla="*/ 158 h 202"/>
                <a:gd name="T28" fmla="*/ 109 w 204"/>
                <a:gd name="T29" fmla="*/ 117 h 202"/>
                <a:gd name="T30" fmla="*/ 71 w 204"/>
                <a:gd name="T31" fmla="*/ 98 h 202"/>
                <a:gd name="T32" fmla="*/ 62 w 204"/>
                <a:gd name="T33" fmla="*/ 104 h 202"/>
                <a:gd name="T34" fmla="*/ 54 w 204"/>
                <a:gd name="T35" fmla="*/ 94 h 202"/>
                <a:gd name="T36" fmla="*/ 75 w 204"/>
                <a:gd name="T37" fmla="*/ 77 h 202"/>
                <a:gd name="T38" fmla="*/ 102 w 204"/>
                <a:gd name="T39" fmla="*/ 53 h 202"/>
                <a:gd name="T40" fmla="*/ 111 w 204"/>
                <a:gd name="T41" fmla="*/ 62 h 202"/>
                <a:gd name="T42" fmla="*/ 100 w 204"/>
                <a:gd name="T43" fmla="*/ 73 h 202"/>
                <a:gd name="T44" fmla="*/ 177 w 204"/>
                <a:gd name="T45" fmla="*/ 115 h 202"/>
                <a:gd name="T46" fmla="*/ 147 w 204"/>
                <a:gd name="T47" fmla="*/ 34 h 202"/>
                <a:gd name="T48" fmla="*/ 132 w 204"/>
                <a:gd name="T49" fmla="*/ 43 h 202"/>
                <a:gd name="T50" fmla="*/ 124 w 204"/>
                <a:gd name="T51" fmla="*/ 34 h 202"/>
                <a:gd name="T52" fmla="*/ 145 w 204"/>
                <a:gd name="T53" fmla="*/ 17 h 202"/>
                <a:gd name="T54" fmla="*/ 160 w 204"/>
                <a:gd name="T55" fmla="*/ 0 h 202"/>
                <a:gd name="T56" fmla="*/ 170 w 204"/>
                <a:gd name="T57" fmla="*/ 11 h 202"/>
                <a:gd name="T58" fmla="*/ 160 w 204"/>
                <a:gd name="T59" fmla="*/ 21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4" h="202">
                  <a:moveTo>
                    <a:pt x="160" y="21"/>
                  </a:moveTo>
                  <a:lnTo>
                    <a:pt x="204" y="143"/>
                  </a:lnTo>
                  <a:lnTo>
                    <a:pt x="187" y="156"/>
                  </a:lnTo>
                  <a:lnTo>
                    <a:pt x="132" y="128"/>
                  </a:lnTo>
                  <a:lnTo>
                    <a:pt x="153" y="187"/>
                  </a:lnTo>
                  <a:lnTo>
                    <a:pt x="136" y="202"/>
                  </a:lnTo>
                  <a:lnTo>
                    <a:pt x="18" y="143"/>
                  </a:lnTo>
                  <a:lnTo>
                    <a:pt x="7" y="151"/>
                  </a:lnTo>
                  <a:lnTo>
                    <a:pt x="0" y="141"/>
                  </a:lnTo>
                  <a:lnTo>
                    <a:pt x="22" y="122"/>
                  </a:lnTo>
                  <a:lnTo>
                    <a:pt x="47" y="100"/>
                  </a:lnTo>
                  <a:lnTo>
                    <a:pt x="54" y="111"/>
                  </a:lnTo>
                  <a:lnTo>
                    <a:pt x="47" y="119"/>
                  </a:lnTo>
                  <a:lnTo>
                    <a:pt x="126" y="158"/>
                  </a:lnTo>
                  <a:lnTo>
                    <a:pt x="109" y="117"/>
                  </a:lnTo>
                  <a:lnTo>
                    <a:pt x="71" y="98"/>
                  </a:lnTo>
                  <a:lnTo>
                    <a:pt x="62" y="104"/>
                  </a:lnTo>
                  <a:lnTo>
                    <a:pt x="54" y="94"/>
                  </a:lnTo>
                  <a:lnTo>
                    <a:pt x="75" y="77"/>
                  </a:lnTo>
                  <a:lnTo>
                    <a:pt x="102" y="53"/>
                  </a:lnTo>
                  <a:lnTo>
                    <a:pt x="111" y="62"/>
                  </a:lnTo>
                  <a:lnTo>
                    <a:pt x="100" y="73"/>
                  </a:lnTo>
                  <a:lnTo>
                    <a:pt x="177" y="115"/>
                  </a:lnTo>
                  <a:lnTo>
                    <a:pt x="147" y="34"/>
                  </a:lnTo>
                  <a:lnTo>
                    <a:pt x="132" y="43"/>
                  </a:lnTo>
                  <a:lnTo>
                    <a:pt x="124" y="34"/>
                  </a:lnTo>
                  <a:lnTo>
                    <a:pt x="145" y="17"/>
                  </a:lnTo>
                  <a:lnTo>
                    <a:pt x="160" y="0"/>
                  </a:lnTo>
                  <a:lnTo>
                    <a:pt x="170" y="11"/>
                  </a:lnTo>
                  <a:lnTo>
                    <a:pt x="160" y="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7" name="Freeform 31"/>
            <p:cNvSpPr>
              <a:spLocks/>
            </p:cNvSpPr>
            <p:nvPr/>
          </p:nvSpPr>
          <p:spPr bwMode="auto">
            <a:xfrm>
              <a:off x="-6036" y="11182"/>
              <a:ext cx="178" cy="175"/>
            </a:xfrm>
            <a:custGeom>
              <a:avLst/>
              <a:gdLst>
                <a:gd name="T0" fmla="*/ 75 w 94"/>
                <a:gd name="T1" fmla="*/ 66 h 93"/>
                <a:gd name="T2" fmla="*/ 69 w 94"/>
                <a:gd name="T3" fmla="*/ 74 h 93"/>
                <a:gd name="T4" fmla="*/ 56 w 94"/>
                <a:gd name="T5" fmla="*/ 93 h 93"/>
                <a:gd name="T6" fmla="*/ 50 w 94"/>
                <a:gd name="T7" fmla="*/ 89 h 93"/>
                <a:gd name="T8" fmla="*/ 57 w 94"/>
                <a:gd name="T9" fmla="*/ 78 h 93"/>
                <a:gd name="T10" fmla="*/ 13 w 94"/>
                <a:gd name="T11" fmla="*/ 47 h 93"/>
                <a:gd name="T12" fmla="*/ 6 w 94"/>
                <a:gd name="T13" fmla="*/ 55 h 93"/>
                <a:gd name="T14" fmla="*/ 0 w 94"/>
                <a:gd name="T15" fmla="*/ 51 h 93"/>
                <a:gd name="T16" fmla="*/ 13 w 94"/>
                <a:gd name="T17" fmla="*/ 34 h 93"/>
                <a:gd name="T18" fmla="*/ 21 w 94"/>
                <a:gd name="T19" fmla="*/ 22 h 93"/>
                <a:gd name="T20" fmla="*/ 31 w 94"/>
                <a:gd name="T21" fmla="*/ 8 h 93"/>
                <a:gd name="T22" fmla="*/ 28 w 94"/>
                <a:gd name="T23" fmla="*/ 6 h 93"/>
                <a:gd name="T24" fmla="*/ 32 w 94"/>
                <a:gd name="T25" fmla="*/ 0 h 93"/>
                <a:gd name="T26" fmla="*/ 36 w 94"/>
                <a:gd name="T27" fmla="*/ 3 h 93"/>
                <a:gd name="T28" fmla="*/ 51 w 94"/>
                <a:gd name="T29" fmla="*/ 13 h 93"/>
                <a:gd name="T30" fmla="*/ 47 w 94"/>
                <a:gd name="T31" fmla="*/ 18 h 93"/>
                <a:gd name="T32" fmla="*/ 37 w 94"/>
                <a:gd name="T33" fmla="*/ 14 h 93"/>
                <a:gd name="T34" fmla="*/ 25 w 94"/>
                <a:gd name="T35" fmla="*/ 31 h 93"/>
                <a:gd name="T36" fmla="*/ 43 w 94"/>
                <a:gd name="T37" fmla="*/ 44 h 93"/>
                <a:gd name="T38" fmla="*/ 52 w 94"/>
                <a:gd name="T39" fmla="*/ 31 h 93"/>
                <a:gd name="T40" fmla="*/ 46 w 94"/>
                <a:gd name="T41" fmla="*/ 25 h 93"/>
                <a:gd name="T42" fmla="*/ 50 w 94"/>
                <a:gd name="T43" fmla="*/ 20 h 93"/>
                <a:gd name="T44" fmla="*/ 70 w 94"/>
                <a:gd name="T45" fmla="*/ 34 h 93"/>
                <a:gd name="T46" fmla="*/ 66 w 94"/>
                <a:gd name="T47" fmla="*/ 40 h 93"/>
                <a:gd name="T48" fmla="*/ 58 w 94"/>
                <a:gd name="T49" fmla="*/ 36 h 93"/>
                <a:gd name="T50" fmla="*/ 49 w 94"/>
                <a:gd name="T51" fmla="*/ 48 h 93"/>
                <a:gd name="T52" fmla="*/ 66 w 94"/>
                <a:gd name="T53" fmla="*/ 60 h 93"/>
                <a:gd name="T54" fmla="*/ 68 w 94"/>
                <a:gd name="T55" fmla="*/ 62 h 93"/>
                <a:gd name="T56" fmla="*/ 72 w 94"/>
                <a:gd name="T57" fmla="*/ 57 h 93"/>
                <a:gd name="T58" fmla="*/ 79 w 94"/>
                <a:gd name="T59" fmla="*/ 47 h 93"/>
                <a:gd name="T60" fmla="*/ 82 w 94"/>
                <a:gd name="T61" fmla="*/ 42 h 93"/>
                <a:gd name="T62" fmla="*/ 74 w 94"/>
                <a:gd name="T63" fmla="*/ 35 h 93"/>
                <a:gd name="T64" fmla="*/ 79 w 94"/>
                <a:gd name="T65" fmla="*/ 29 h 93"/>
                <a:gd name="T66" fmla="*/ 94 w 94"/>
                <a:gd name="T67" fmla="*/ 40 h 93"/>
                <a:gd name="T68" fmla="*/ 75 w 94"/>
                <a:gd name="T69" fmla="*/ 66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94" h="93">
                  <a:moveTo>
                    <a:pt x="75" y="66"/>
                  </a:moveTo>
                  <a:lnTo>
                    <a:pt x="69" y="74"/>
                  </a:lnTo>
                  <a:lnTo>
                    <a:pt x="56" y="93"/>
                  </a:lnTo>
                  <a:lnTo>
                    <a:pt x="50" y="89"/>
                  </a:lnTo>
                  <a:lnTo>
                    <a:pt x="57" y="78"/>
                  </a:lnTo>
                  <a:lnTo>
                    <a:pt x="13" y="47"/>
                  </a:lnTo>
                  <a:lnTo>
                    <a:pt x="6" y="55"/>
                  </a:lnTo>
                  <a:lnTo>
                    <a:pt x="0" y="51"/>
                  </a:lnTo>
                  <a:lnTo>
                    <a:pt x="13" y="34"/>
                  </a:lnTo>
                  <a:lnTo>
                    <a:pt x="21" y="22"/>
                  </a:lnTo>
                  <a:lnTo>
                    <a:pt x="31" y="8"/>
                  </a:lnTo>
                  <a:lnTo>
                    <a:pt x="28" y="6"/>
                  </a:lnTo>
                  <a:lnTo>
                    <a:pt x="32" y="0"/>
                  </a:lnTo>
                  <a:lnTo>
                    <a:pt x="36" y="3"/>
                  </a:lnTo>
                  <a:lnTo>
                    <a:pt x="51" y="13"/>
                  </a:lnTo>
                  <a:lnTo>
                    <a:pt x="47" y="18"/>
                  </a:lnTo>
                  <a:lnTo>
                    <a:pt x="37" y="14"/>
                  </a:lnTo>
                  <a:lnTo>
                    <a:pt x="25" y="31"/>
                  </a:lnTo>
                  <a:lnTo>
                    <a:pt x="43" y="44"/>
                  </a:lnTo>
                  <a:lnTo>
                    <a:pt x="52" y="31"/>
                  </a:lnTo>
                  <a:lnTo>
                    <a:pt x="46" y="25"/>
                  </a:lnTo>
                  <a:lnTo>
                    <a:pt x="50" y="20"/>
                  </a:lnTo>
                  <a:lnTo>
                    <a:pt x="70" y="34"/>
                  </a:lnTo>
                  <a:lnTo>
                    <a:pt x="66" y="40"/>
                  </a:lnTo>
                  <a:lnTo>
                    <a:pt x="58" y="36"/>
                  </a:lnTo>
                  <a:lnTo>
                    <a:pt x="49" y="48"/>
                  </a:lnTo>
                  <a:lnTo>
                    <a:pt x="66" y="60"/>
                  </a:lnTo>
                  <a:cubicBezTo>
                    <a:pt x="67" y="61"/>
                    <a:pt x="68" y="62"/>
                    <a:pt x="68" y="62"/>
                  </a:cubicBezTo>
                  <a:cubicBezTo>
                    <a:pt x="69" y="60"/>
                    <a:pt x="70" y="59"/>
                    <a:pt x="72" y="57"/>
                  </a:cubicBezTo>
                  <a:cubicBezTo>
                    <a:pt x="75" y="53"/>
                    <a:pt x="79" y="47"/>
                    <a:pt x="79" y="47"/>
                  </a:cubicBezTo>
                  <a:cubicBezTo>
                    <a:pt x="80" y="45"/>
                    <a:pt x="82" y="42"/>
                    <a:pt x="82" y="42"/>
                  </a:cubicBezTo>
                  <a:cubicBezTo>
                    <a:pt x="82" y="41"/>
                    <a:pt x="76" y="36"/>
                    <a:pt x="74" y="35"/>
                  </a:cubicBezTo>
                  <a:lnTo>
                    <a:pt x="79" y="29"/>
                  </a:lnTo>
                  <a:lnTo>
                    <a:pt x="94" y="40"/>
                  </a:lnTo>
                  <a:lnTo>
                    <a:pt x="75" y="66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8" name="Freeform 32"/>
            <p:cNvSpPr>
              <a:spLocks/>
            </p:cNvSpPr>
            <p:nvPr/>
          </p:nvSpPr>
          <p:spPr bwMode="auto">
            <a:xfrm>
              <a:off x="-5945" y="11071"/>
              <a:ext cx="153" cy="130"/>
            </a:xfrm>
            <a:custGeom>
              <a:avLst/>
              <a:gdLst>
                <a:gd name="T0" fmla="*/ 136 w 153"/>
                <a:gd name="T1" fmla="*/ 92 h 130"/>
                <a:gd name="T2" fmla="*/ 119 w 153"/>
                <a:gd name="T3" fmla="*/ 130 h 130"/>
                <a:gd name="T4" fmla="*/ 106 w 153"/>
                <a:gd name="T5" fmla="*/ 124 h 130"/>
                <a:gd name="T6" fmla="*/ 115 w 153"/>
                <a:gd name="T7" fmla="*/ 103 h 130"/>
                <a:gd name="T8" fmla="*/ 25 w 153"/>
                <a:gd name="T9" fmla="*/ 58 h 130"/>
                <a:gd name="T10" fmla="*/ 13 w 153"/>
                <a:gd name="T11" fmla="*/ 77 h 130"/>
                <a:gd name="T12" fmla="*/ 0 w 153"/>
                <a:gd name="T13" fmla="*/ 71 h 130"/>
                <a:gd name="T14" fmla="*/ 19 w 153"/>
                <a:gd name="T15" fmla="*/ 35 h 130"/>
                <a:gd name="T16" fmla="*/ 36 w 153"/>
                <a:gd name="T17" fmla="*/ 0 h 130"/>
                <a:gd name="T18" fmla="*/ 49 w 153"/>
                <a:gd name="T19" fmla="*/ 5 h 130"/>
                <a:gd name="T20" fmla="*/ 40 w 153"/>
                <a:gd name="T21" fmla="*/ 26 h 130"/>
                <a:gd name="T22" fmla="*/ 130 w 153"/>
                <a:gd name="T23" fmla="*/ 71 h 130"/>
                <a:gd name="T24" fmla="*/ 142 w 153"/>
                <a:gd name="T25" fmla="*/ 52 h 130"/>
                <a:gd name="T26" fmla="*/ 153 w 153"/>
                <a:gd name="T27" fmla="*/ 58 h 130"/>
                <a:gd name="T28" fmla="*/ 136 w 153"/>
                <a:gd name="T29" fmla="*/ 92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3" h="130">
                  <a:moveTo>
                    <a:pt x="136" y="92"/>
                  </a:moveTo>
                  <a:lnTo>
                    <a:pt x="119" y="130"/>
                  </a:lnTo>
                  <a:lnTo>
                    <a:pt x="106" y="124"/>
                  </a:lnTo>
                  <a:lnTo>
                    <a:pt x="115" y="103"/>
                  </a:lnTo>
                  <a:lnTo>
                    <a:pt x="25" y="58"/>
                  </a:lnTo>
                  <a:lnTo>
                    <a:pt x="13" y="77"/>
                  </a:lnTo>
                  <a:lnTo>
                    <a:pt x="0" y="71"/>
                  </a:lnTo>
                  <a:lnTo>
                    <a:pt x="19" y="35"/>
                  </a:lnTo>
                  <a:lnTo>
                    <a:pt x="36" y="0"/>
                  </a:lnTo>
                  <a:lnTo>
                    <a:pt x="49" y="5"/>
                  </a:lnTo>
                  <a:lnTo>
                    <a:pt x="40" y="26"/>
                  </a:lnTo>
                  <a:lnTo>
                    <a:pt x="130" y="71"/>
                  </a:lnTo>
                  <a:lnTo>
                    <a:pt x="142" y="52"/>
                  </a:lnTo>
                  <a:lnTo>
                    <a:pt x="153" y="58"/>
                  </a:lnTo>
                  <a:lnTo>
                    <a:pt x="136" y="9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9" name="Freeform 33"/>
            <p:cNvSpPr>
              <a:spLocks/>
            </p:cNvSpPr>
            <p:nvPr/>
          </p:nvSpPr>
          <p:spPr bwMode="auto">
            <a:xfrm>
              <a:off x="-5890" y="10912"/>
              <a:ext cx="162" cy="162"/>
            </a:xfrm>
            <a:custGeom>
              <a:avLst/>
              <a:gdLst>
                <a:gd name="T0" fmla="*/ 62 w 86"/>
                <a:gd name="T1" fmla="*/ 12 h 86"/>
                <a:gd name="T2" fmla="*/ 70 w 86"/>
                <a:gd name="T3" fmla="*/ 15 h 86"/>
                <a:gd name="T4" fmla="*/ 73 w 86"/>
                <a:gd name="T5" fmla="*/ 15 h 86"/>
                <a:gd name="T6" fmla="*/ 86 w 86"/>
                <a:gd name="T7" fmla="*/ 16 h 86"/>
                <a:gd name="T8" fmla="*/ 82 w 86"/>
                <a:gd name="T9" fmla="*/ 31 h 86"/>
                <a:gd name="T10" fmla="*/ 78 w 86"/>
                <a:gd name="T11" fmla="*/ 51 h 86"/>
                <a:gd name="T12" fmla="*/ 31 w 86"/>
                <a:gd name="T13" fmla="*/ 80 h 86"/>
                <a:gd name="T14" fmla="*/ 8 w 86"/>
                <a:gd name="T15" fmla="*/ 30 h 86"/>
                <a:gd name="T16" fmla="*/ 17 w 86"/>
                <a:gd name="T17" fmla="*/ 9 h 86"/>
                <a:gd name="T18" fmla="*/ 14 w 86"/>
                <a:gd name="T19" fmla="*/ 8 h 86"/>
                <a:gd name="T20" fmla="*/ 16 w 86"/>
                <a:gd name="T21" fmla="*/ 2 h 86"/>
                <a:gd name="T22" fmla="*/ 20 w 86"/>
                <a:gd name="T23" fmla="*/ 3 h 86"/>
                <a:gd name="T24" fmla="*/ 38 w 86"/>
                <a:gd name="T25" fmla="*/ 8 h 86"/>
                <a:gd name="T26" fmla="*/ 36 w 86"/>
                <a:gd name="T27" fmla="*/ 15 h 86"/>
                <a:gd name="T28" fmla="*/ 16 w 86"/>
                <a:gd name="T29" fmla="*/ 31 h 86"/>
                <a:gd name="T30" fmla="*/ 37 w 86"/>
                <a:gd name="T31" fmla="*/ 60 h 86"/>
                <a:gd name="T32" fmla="*/ 71 w 86"/>
                <a:gd name="T33" fmla="*/ 48 h 86"/>
                <a:gd name="T34" fmla="*/ 72 w 86"/>
                <a:gd name="T35" fmla="*/ 35 h 86"/>
                <a:gd name="T36" fmla="*/ 57 w 86"/>
                <a:gd name="T37" fmla="*/ 30 h 86"/>
                <a:gd name="T38" fmla="*/ 52 w 86"/>
                <a:gd name="T39" fmla="*/ 41 h 86"/>
                <a:gd name="T40" fmla="*/ 45 w 86"/>
                <a:gd name="T41" fmla="*/ 39 h 86"/>
                <a:gd name="T42" fmla="*/ 52 w 86"/>
                <a:gd name="T43" fmla="*/ 18 h 86"/>
                <a:gd name="T44" fmla="*/ 58 w 86"/>
                <a:gd name="T45" fmla="*/ 0 h 86"/>
                <a:gd name="T46" fmla="*/ 64 w 86"/>
                <a:gd name="T47" fmla="*/ 2 h 86"/>
                <a:gd name="T48" fmla="*/ 62 w 86"/>
                <a:gd name="T49" fmla="*/ 12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6" h="86">
                  <a:moveTo>
                    <a:pt x="62" y="12"/>
                  </a:moveTo>
                  <a:cubicBezTo>
                    <a:pt x="64" y="12"/>
                    <a:pt x="67" y="14"/>
                    <a:pt x="70" y="15"/>
                  </a:cubicBezTo>
                  <a:lnTo>
                    <a:pt x="73" y="15"/>
                  </a:lnTo>
                  <a:cubicBezTo>
                    <a:pt x="78" y="17"/>
                    <a:pt x="82" y="17"/>
                    <a:pt x="86" y="16"/>
                  </a:cubicBezTo>
                  <a:cubicBezTo>
                    <a:pt x="83" y="25"/>
                    <a:pt x="84" y="24"/>
                    <a:pt x="82" y="31"/>
                  </a:cubicBezTo>
                  <a:cubicBezTo>
                    <a:pt x="81" y="39"/>
                    <a:pt x="81" y="42"/>
                    <a:pt x="78" y="51"/>
                  </a:cubicBezTo>
                  <a:cubicBezTo>
                    <a:pt x="69" y="79"/>
                    <a:pt x="49" y="86"/>
                    <a:pt x="31" y="80"/>
                  </a:cubicBezTo>
                  <a:cubicBezTo>
                    <a:pt x="14" y="75"/>
                    <a:pt x="0" y="57"/>
                    <a:pt x="8" y="30"/>
                  </a:cubicBezTo>
                  <a:cubicBezTo>
                    <a:pt x="10" y="23"/>
                    <a:pt x="14" y="14"/>
                    <a:pt x="17" y="9"/>
                  </a:cubicBezTo>
                  <a:lnTo>
                    <a:pt x="14" y="8"/>
                  </a:lnTo>
                  <a:lnTo>
                    <a:pt x="16" y="2"/>
                  </a:lnTo>
                  <a:lnTo>
                    <a:pt x="20" y="3"/>
                  </a:lnTo>
                  <a:lnTo>
                    <a:pt x="38" y="8"/>
                  </a:lnTo>
                  <a:lnTo>
                    <a:pt x="36" y="15"/>
                  </a:lnTo>
                  <a:cubicBezTo>
                    <a:pt x="26" y="13"/>
                    <a:pt x="20" y="20"/>
                    <a:pt x="16" y="31"/>
                  </a:cubicBezTo>
                  <a:cubicBezTo>
                    <a:pt x="13" y="40"/>
                    <a:pt x="21" y="55"/>
                    <a:pt x="37" y="60"/>
                  </a:cubicBezTo>
                  <a:cubicBezTo>
                    <a:pt x="53" y="65"/>
                    <a:pt x="68" y="57"/>
                    <a:pt x="71" y="48"/>
                  </a:cubicBezTo>
                  <a:cubicBezTo>
                    <a:pt x="72" y="42"/>
                    <a:pt x="73" y="39"/>
                    <a:pt x="72" y="35"/>
                  </a:cubicBezTo>
                  <a:lnTo>
                    <a:pt x="57" y="30"/>
                  </a:lnTo>
                  <a:lnTo>
                    <a:pt x="52" y="41"/>
                  </a:lnTo>
                  <a:lnTo>
                    <a:pt x="45" y="39"/>
                  </a:lnTo>
                  <a:lnTo>
                    <a:pt x="52" y="18"/>
                  </a:lnTo>
                  <a:lnTo>
                    <a:pt x="58" y="0"/>
                  </a:lnTo>
                  <a:lnTo>
                    <a:pt x="64" y="2"/>
                  </a:lnTo>
                  <a:lnTo>
                    <a:pt x="62" y="12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0" name="Freeform 34"/>
            <p:cNvSpPr>
              <a:spLocks/>
            </p:cNvSpPr>
            <p:nvPr/>
          </p:nvSpPr>
          <p:spPr bwMode="auto">
            <a:xfrm>
              <a:off x="-7417" y="10618"/>
              <a:ext cx="144" cy="132"/>
            </a:xfrm>
            <a:custGeom>
              <a:avLst/>
              <a:gdLst>
                <a:gd name="T0" fmla="*/ 75 w 76"/>
                <a:gd name="T1" fmla="*/ 28 h 70"/>
                <a:gd name="T2" fmla="*/ 40 w 76"/>
                <a:gd name="T3" fmla="*/ 70 h 70"/>
                <a:gd name="T4" fmla="*/ 2 w 76"/>
                <a:gd name="T5" fmla="*/ 31 h 70"/>
                <a:gd name="T6" fmla="*/ 3 w 76"/>
                <a:gd name="T7" fmla="*/ 10 h 70"/>
                <a:gd name="T8" fmla="*/ 0 w 76"/>
                <a:gd name="T9" fmla="*/ 9 h 70"/>
                <a:gd name="T10" fmla="*/ 0 w 76"/>
                <a:gd name="T11" fmla="*/ 2 h 70"/>
                <a:gd name="T12" fmla="*/ 7 w 76"/>
                <a:gd name="T13" fmla="*/ 2 h 70"/>
                <a:gd name="T14" fmla="*/ 24 w 76"/>
                <a:gd name="T15" fmla="*/ 1 h 70"/>
                <a:gd name="T16" fmla="*/ 24 w 76"/>
                <a:gd name="T17" fmla="*/ 8 h 70"/>
                <a:gd name="T18" fmla="*/ 10 w 76"/>
                <a:gd name="T19" fmla="*/ 29 h 70"/>
                <a:gd name="T20" fmla="*/ 38 w 76"/>
                <a:gd name="T21" fmla="*/ 49 h 70"/>
                <a:gd name="T22" fmla="*/ 67 w 76"/>
                <a:gd name="T23" fmla="*/ 26 h 70"/>
                <a:gd name="T24" fmla="*/ 64 w 76"/>
                <a:gd name="T25" fmla="*/ 9 h 70"/>
                <a:gd name="T26" fmla="*/ 50 w 76"/>
                <a:gd name="T27" fmla="*/ 7 h 70"/>
                <a:gd name="T28" fmla="*/ 50 w 76"/>
                <a:gd name="T29" fmla="*/ 0 h 70"/>
                <a:gd name="T30" fmla="*/ 69 w 76"/>
                <a:gd name="T31" fmla="*/ 0 h 70"/>
                <a:gd name="T32" fmla="*/ 75 w 76"/>
                <a:gd name="T33" fmla="*/ 28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6" h="70">
                  <a:moveTo>
                    <a:pt x="75" y="28"/>
                  </a:moveTo>
                  <a:cubicBezTo>
                    <a:pt x="76" y="52"/>
                    <a:pt x="61" y="69"/>
                    <a:pt x="40" y="70"/>
                  </a:cubicBezTo>
                  <a:cubicBezTo>
                    <a:pt x="21" y="70"/>
                    <a:pt x="3" y="56"/>
                    <a:pt x="2" y="31"/>
                  </a:cubicBezTo>
                  <a:cubicBezTo>
                    <a:pt x="2" y="19"/>
                    <a:pt x="2" y="17"/>
                    <a:pt x="3" y="10"/>
                  </a:cubicBezTo>
                  <a:lnTo>
                    <a:pt x="0" y="9"/>
                  </a:lnTo>
                  <a:lnTo>
                    <a:pt x="0" y="2"/>
                  </a:lnTo>
                  <a:lnTo>
                    <a:pt x="7" y="2"/>
                  </a:lnTo>
                  <a:lnTo>
                    <a:pt x="24" y="1"/>
                  </a:lnTo>
                  <a:lnTo>
                    <a:pt x="24" y="8"/>
                  </a:lnTo>
                  <a:cubicBezTo>
                    <a:pt x="13" y="9"/>
                    <a:pt x="10" y="18"/>
                    <a:pt x="10" y="29"/>
                  </a:cubicBezTo>
                  <a:cubicBezTo>
                    <a:pt x="10" y="39"/>
                    <a:pt x="22" y="49"/>
                    <a:pt x="38" y="49"/>
                  </a:cubicBezTo>
                  <a:cubicBezTo>
                    <a:pt x="55" y="49"/>
                    <a:pt x="67" y="37"/>
                    <a:pt x="67" y="26"/>
                  </a:cubicBezTo>
                  <a:cubicBezTo>
                    <a:pt x="67" y="15"/>
                    <a:pt x="64" y="9"/>
                    <a:pt x="64" y="9"/>
                  </a:cubicBezTo>
                  <a:cubicBezTo>
                    <a:pt x="62" y="8"/>
                    <a:pt x="52" y="8"/>
                    <a:pt x="50" y="7"/>
                  </a:cubicBezTo>
                  <a:lnTo>
                    <a:pt x="50" y="0"/>
                  </a:lnTo>
                  <a:lnTo>
                    <a:pt x="69" y="0"/>
                  </a:lnTo>
                  <a:cubicBezTo>
                    <a:pt x="72" y="11"/>
                    <a:pt x="75" y="14"/>
                    <a:pt x="75" y="2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1" name="Freeform 35"/>
            <p:cNvSpPr>
              <a:spLocks noEditPoints="1"/>
            </p:cNvSpPr>
            <p:nvPr/>
          </p:nvSpPr>
          <p:spPr bwMode="auto">
            <a:xfrm>
              <a:off x="-7409" y="10440"/>
              <a:ext cx="149" cy="149"/>
            </a:xfrm>
            <a:custGeom>
              <a:avLst/>
              <a:gdLst>
                <a:gd name="T0" fmla="*/ 20 w 79"/>
                <a:gd name="T1" fmla="*/ 38 h 79"/>
                <a:gd name="T2" fmla="*/ 40 w 79"/>
                <a:gd name="T3" fmla="*/ 49 h 79"/>
                <a:gd name="T4" fmla="*/ 42 w 79"/>
                <a:gd name="T5" fmla="*/ 34 h 79"/>
                <a:gd name="T6" fmla="*/ 20 w 79"/>
                <a:gd name="T7" fmla="*/ 38 h 79"/>
                <a:gd name="T8" fmla="*/ 76 w 79"/>
                <a:gd name="T9" fmla="*/ 16 h 79"/>
                <a:gd name="T10" fmla="*/ 74 w 79"/>
                <a:gd name="T11" fmla="*/ 38 h 79"/>
                <a:gd name="T12" fmla="*/ 67 w 79"/>
                <a:gd name="T13" fmla="*/ 37 h 79"/>
                <a:gd name="T14" fmla="*/ 67 w 79"/>
                <a:gd name="T15" fmla="*/ 27 h 79"/>
                <a:gd name="T16" fmla="*/ 51 w 79"/>
                <a:gd name="T17" fmla="*/ 31 h 79"/>
                <a:gd name="T18" fmla="*/ 48 w 79"/>
                <a:gd name="T19" fmla="*/ 54 h 79"/>
                <a:gd name="T20" fmla="*/ 63 w 79"/>
                <a:gd name="T21" fmla="*/ 62 h 79"/>
                <a:gd name="T22" fmla="*/ 65 w 79"/>
                <a:gd name="T23" fmla="*/ 50 h 79"/>
                <a:gd name="T24" fmla="*/ 72 w 79"/>
                <a:gd name="T25" fmla="*/ 51 h 79"/>
                <a:gd name="T26" fmla="*/ 70 w 79"/>
                <a:gd name="T27" fmla="*/ 67 h 79"/>
                <a:gd name="T28" fmla="*/ 69 w 79"/>
                <a:gd name="T29" fmla="*/ 79 h 79"/>
                <a:gd name="T30" fmla="*/ 62 w 79"/>
                <a:gd name="T31" fmla="*/ 79 h 79"/>
                <a:gd name="T32" fmla="*/ 62 w 79"/>
                <a:gd name="T33" fmla="*/ 72 h 79"/>
                <a:gd name="T34" fmla="*/ 5 w 79"/>
                <a:gd name="T35" fmla="*/ 39 h 79"/>
                <a:gd name="T36" fmla="*/ 0 w 79"/>
                <a:gd name="T37" fmla="*/ 28 h 79"/>
                <a:gd name="T38" fmla="*/ 0 w 79"/>
                <a:gd name="T39" fmla="*/ 25 h 79"/>
                <a:gd name="T40" fmla="*/ 70 w 79"/>
                <a:gd name="T41" fmla="*/ 7 h 79"/>
                <a:gd name="T42" fmla="*/ 72 w 79"/>
                <a:gd name="T43" fmla="*/ 0 h 79"/>
                <a:gd name="T44" fmla="*/ 79 w 79"/>
                <a:gd name="T45" fmla="*/ 1 h 79"/>
                <a:gd name="T46" fmla="*/ 76 w 79"/>
                <a:gd name="T47" fmla="*/ 1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9" h="79">
                  <a:moveTo>
                    <a:pt x="20" y="38"/>
                  </a:moveTo>
                  <a:lnTo>
                    <a:pt x="40" y="49"/>
                  </a:lnTo>
                  <a:lnTo>
                    <a:pt x="42" y="34"/>
                  </a:lnTo>
                  <a:lnTo>
                    <a:pt x="20" y="38"/>
                  </a:lnTo>
                  <a:close/>
                  <a:moveTo>
                    <a:pt x="76" y="16"/>
                  </a:moveTo>
                  <a:lnTo>
                    <a:pt x="74" y="38"/>
                  </a:lnTo>
                  <a:lnTo>
                    <a:pt x="67" y="37"/>
                  </a:lnTo>
                  <a:lnTo>
                    <a:pt x="67" y="27"/>
                  </a:lnTo>
                  <a:lnTo>
                    <a:pt x="51" y="31"/>
                  </a:lnTo>
                  <a:lnTo>
                    <a:pt x="48" y="54"/>
                  </a:lnTo>
                  <a:lnTo>
                    <a:pt x="63" y="62"/>
                  </a:lnTo>
                  <a:lnTo>
                    <a:pt x="65" y="50"/>
                  </a:lnTo>
                  <a:lnTo>
                    <a:pt x="72" y="51"/>
                  </a:lnTo>
                  <a:lnTo>
                    <a:pt x="70" y="67"/>
                  </a:lnTo>
                  <a:lnTo>
                    <a:pt x="69" y="79"/>
                  </a:lnTo>
                  <a:lnTo>
                    <a:pt x="62" y="79"/>
                  </a:lnTo>
                  <a:lnTo>
                    <a:pt x="62" y="72"/>
                  </a:lnTo>
                  <a:lnTo>
                    <a:pt x="5" y="39"/>
                  </a:lnTo>
                  <a:cubicBezTo>
                    <a:pt x="4" y="35"/>
                    <a:pt x="2" y="31"/>
                    <a:pt x="0" y="28"/>
                  </a:cubicBezTo>
                  <a:lnTo>
                    <a:pt x="0" y="25"/>
                  </a:lnTo>
                  <a:lnTo>
                    <a:pt x="70" y="7"/>
                  </a:lnTo>
                  <a:lnTo>
                    <a:pt x="72" y="0"/>
                  </a:lnTo>
                  <a:lnTo>
                    <a:pt x="79" y="1"/>
                  </a:lnTo>
                  <a:lnTo>
                    <a:pt x="76" y="16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2" name="Freeform 36"/>
            <p:cNvSpPr>
              <a:spLocks noEditPoints="1"/>
            </p:cNvSpPr>
            <p:nvPr/>
          </p:nvSpPr>
          <p:spPr bwMode="auto">
            <a:xfrm>
              <a:off x="-7377" y="10255"/>
              <a:ext cx="178" cy="157"/>
            </a:xfrm>
            <a:custGeom>
              <a:avLst/>
              <a:gdLst>
                <a:gd name="T0" fmla="*/ 17 w 94"/>
                <a:gd name="T1" fmla="*/ 31 h 83"/>
                <a:gd name="T2" fmla="*/ 16 w 94"/>
                <a:gd name="T3" fmla="*/ 35 h 83"/>
                <a:gd name="T4" fmla="*/ 41 w 94"/>
                <a:gd name="T5" fmla="*/ 42 h 83"/>
                <a:gd name="T6" fmla="*/ 42 w 94"/>
                <a:gd name="T7" fmla="*/ 39 h 83"/>
                <a:gd name="T8" fmla="*/ 32 w 94"/>
                <a:gd name="T9" fmla="*/ 23 h 83"/>
                <a:gd name="T10" fmla="*/ 17 w 94"/>
                <a:gd name="T11" fmla="*/ 31 h 83"/>
                <a:gd name="T12" fmla="*/ 94 w 94"/>
                <a:gd name="T13" fmla="*/ 13 h 83"/>
                <a:gd name="T14" fmla="*/ 88 w 94"/>
                <a:gd name="T15" fmla="*/ 24 h 83"/>
                <a:gd name="T16" fmla="*/ 47 w 94"/>
                <a:gd name="T17" fmla="*/ 41 h 83"/>
                <a:gd name="T18" fmla="*/ 46 w 94"/>
                <a:gd name="T19" fmla="*/ 44 h 83"/>
                <a:gd name="T20" fmla="*/ 67 w 94"/>
                <a:gd name="T21" fmla="*/ 50 h 83"/>
                <a:gd name="T22" fmla="*/ 70 w 94"/>
                <a:gd name="T23" fmla="*/ 42 h 83"/>
                <a:gd name="T24" fmla="*/ 77 w 94"/>
                <a:gd name="T25" fmla="*/ 45 h 83"/>
                <a:gd name="T26" fmla="*/ 72 w 94"/>
                <a:gd name="T27" fmla="*/ 62 h 83"/>
                <a:gd name="T28" fmla="*/ 66 w 94"/>
                <a:gd name="T29" fmla="*/ 83 h 83"/>
                <a:gd name="T30" fmla="*/ 59 w 94"/>
                <a:gd name="T31" fmla="*/ 80 h 83"/>
                <a:gd name="T32" fmla="*/ 61 w 94"/>
                <a:gd name="T33" fmla="*/ 69 h 83"/>
                <a:gd name="T34" fmla="*/ 10 w 94"/>
                <a:gd name="T35" fmla="*/ 54 h 83"/>
                <a:gd name="T36" fmla="*/ 7 w 94"/>
                <a:gd name="T37" fmla="*/ 67 h 83"/>
                <a:gd name="T38" fmla="*/ 0 w 94"/>
                <a:gd name="T39" fmla="*/ 65 h 83"/>
                <a:gd name="T40" fmla="*/ 5 w 94"/>
                <a:gd name="T41" fmla="*/ 43 h 83"/>
                <a:gd name="T42" fmla="*/ 9 w 94"/>
                <a:gd name="T43" fmla="*/ 27 h 83"/>
                <a:gd name="T44" fmla="*/ 37 w 94"/>
                <a:gd name="T45" fmla="*/ 3 h 83"/>
                <a:gd name="T46" fmla="*/ 51 w 94"/>
                <a:gd name="T47" fmla="*/ 23 h 83"/>
                <a:gd name="T48" fmla="*/ 84 w 94"/>
                <a:gd name="T49" fmla="*/ 15 h 83"/>
                <a:gd name="T50" fmla="*/ 88 w 94"/>
                <a:gd name="T51" fmla="*/ 9 h 83"/>
                <a:gd name="T52" fmla="*/ 94 w 94"/>
                <a:gd name="T53" fmla="*/ 1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94" h="83">
                  <a:moveTo>
                    <a:pt x="17" y="31"/>
                  </a:moveTo>
                  <a:lnTo>
                    <a:pt x="16" y="35"/>
                  </a:lnTo>
                  <a:lnTo>
                    <a:pt x="41" y="42"/>
                  </a:lnTo>
                  <a:lnTo>
                    <a:pt x="42" y="39"/>
                  </a:lnTo>
                  <a:cubicBezTo>
                    <a:pt x="44" y="31"/>
                    <a:pt x="39" y="25"/>
                    <a:pt x="32" y="23"/>
                  </a:cubicBezTo>
                  <a:cubicBezTo>
                    <a:pt x="26" y="22"/>
                    <a:pt x="19" y="23"/>
                    <a:pt x="17" y="31"/>
                  </a:cubicBezTo>
                  <a:close/>
                  <a:moveTo>
                    <a:pt x="94" y="13"/>
                  </a:moveTo>
                  <a:lnTo>
                    <a:pt x="88" y="24"/>
                  </a:lnTo>
                  <a:cubicBezTo>
                    <a:pt x="83" y="35"/>
                    <a:pt x="56" y="38"/>
                    <a:pt x="47" y="41"/>
                  </a:cubicBezTo>
                  <a:lnTo>
                    <a:pt x="46" y="44"/>
                  </a:lnTo>
                  <a:lnTo>
                    <a:pt x="67" y="50"/>
                  </a:lnTo>
                  <a:lnTo>
                    <a:pt x="70" y="42"/>
                  </a:lnTo>
                  <a:lnTo>
                    <a:pt x="77" y="45"/>
                  </a:lnTo>
                  <a:lnTo>
                    <a:pt x="72" y="62"/>
                  </a:lnTo>
                  <a:lnTo>
                    <a:pt x="66" y="83"/>
                  </a:lnTo>
                  <a:lnTo>
                    <a:pt x="59" y="80"/>
                  </a:lnTo>
                  <a:lnTo>
                    <a:pt x="61" y="69"/>
                  </a:lnTo>
                  <a:lnTo>
                    <a:pt x="10" y="54"/>
                  </a:lnTo>
                  <a:lnTo>
                    <a:pt x="7" y="67"/>
                  </a:lnTo>
                  <a:lnTo>
                    <a:pt x="0" y="65"/>
                  </a:lnTo>
                  <a:cubicBezTo>
                    <a:pt x="1" y="58"/>
                    <a:pt x="4" y="49"/>
                    <a:pt x="5" y="43"/>
                  </a:cubicBezTo>
                  <a:cubicBezTo>
                    <a:pt x="5" y="41"/>
                    <a:pt x="8" y="31"/>
                    <a:pt x="9" y="27"/>
                  </a:cubicBezTo>
                  <a:cubicBezTo>
                    <a:pt x="16" y="4"/>
                    <a:pt x="26" y="0"/>
                    <a:pt x="37" y="3"/>
                  </a:cubicBezTo>
                  <a:cubicBezTo>
                    <a:pt x="47" y="6"/>
                    <a:pt x="52" y="13"/>
                    <a:pt x="51" y="23"/>
                  </a:cubicBezTo>
                  <a:cubicBezTo>
                    <a:pt x="54" y="22"/>
                    <a:pt x="83" y="16"/>
                    <a:pt x="84" y="15"/>
                  </a:cubicBezTo>
                  <a:cubicBezTo>
                    <a:pt x="86" y="12"/>
                    <a:pt x="86" y="12"/>
                    <a:pt x="88" y="9"/>
                  </a:cubicBezTo>
                  <a:lnTo>
                    <a:pt x="94" y="13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3" name="Freeform 37"/>
            <p:cNvSpPr>
              <a:spLocks noEditPoints="1"/>
            </p:cNvSpPr>
            <p:nvPr/>
          </p:nvSpPr>
          <p:spPr bwMode="auto">
            <a:xfrm>
              <a:off x="-7313" y="10076"/>
              <a:ext cx="168" cy="162"/>
            </a:xfrm>
            <a:custGeom>
              <a:avLst/>
              <a:gdLst>
                <a:gd name="T0" fmla="*/ 19 w 89"/>
                <a:gd name="T1" fmla="*/ 30 h 86"/>
                <a:gd name="T2" fmla="*/ 36 w 89"/>
                <a:gd name="T3" fmla="*/ 60 h 86"/>
                <a:gd name="T4" fmla="*/ 70 w 89"/>
                <a:gd name="T5" fmla="*/ 56 h 86"/>
                <a:gd name="T6" fmla="*/ 53 w 89"/>
                <a:gd name="T7" fmla="*/ 26 h 86"/>
                <a:gd name="T8" fmla="*/ 19 w 89"/>
                <a:gd name="T9" fmla="*/ 30 h 86"/>
                <a:gd name="T10" fmla="*/ 77 w 89"/>
                <a:gd name="T11" fmla="*/ 60 h 86"/>
                <a:gd name="T12" fmla="*/ 27 w 89"/>
                <a:gd name="T13" fmla="*/ 78 h 86"/>
                <a:gd name="T14" fmla="*/ 12 w 89"/>
                <a:gd name="T15" fmla="*/ 26 h 86"/>
                <a:gd name="T16" fmla="*/ 63 w 89"/>
                <a:gd name="T17" fmla="*/ 8 h 86"/>
                <a:gd name="T18" fmla="*/ 77 w 89"/>
                <a:gd name="T19" fmla="*/ 6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86">
                  <a:moveTo>
                    <a:pt x="19" y="30"/>
                  </a:moveTo>
                  <a:cubicBezTo>
                    <a:pt x="13" y="42"/>
                    <a:pt x="23" y="53"/>
                    <a:pt x="36" y="60"/>
                  </a:cubicBezTo>
                  <a:cubicBezTo>
                    <a:pt x="49" y="66"/>
                    <a:pt x="64" y="68"/>
                    <a:pt x="70" y="56"/>
                  </a:cubicBezTo>
                  <a:cubicBezTo>
                    <a:pt x="76" y="45"/>
                    <a:pt x="65" y="33"/>
                    <a:pt x="53" y="26"/>
                  </a:cubicBezTo>
                  <a:cubicBezTo>
                    <a:pt x="41" y="20"/>
                    <a:pt x="25" y="18"/>
                    <a:pt x="19" y="30"/>
                  </a:cubicBezTo>
                  <a:close/>
                  <a:moveTo>
                    <a:pt x="77" y="60"/>
                  </a:moveTo>
                  <a:cubicBezTo>
                    <a:pt x="65" y="84"/>
                    <a:pt x="43" y="86"/>
                    <a:pt x="27" y="78"/>
                  </a:cubicBezTo>
                  <a:cubicBezTo>
                    <a:pt x="11" y="70"/>
                    <a:pt x="0" y="51"/>
                    <a:pt x="12" y="26"/>
                  </a:cubicBezTo>
                  <a:cubicBezTo>
                    <a:pt x="24" y="3"/>
                    <a:pt x="47" y="0"/>
                    <a:pt x="63" y="8"/>
                  </a:cubicBezTo>
                  <a:cubicBezTo>
                    <a:pt x="78" y="16"/>
                    <a:pt x="89" y="36"/>
                    <a:pt x="77" y="6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4" name="Freeform 38"/>
            <p:cNvSpPr>
              <a:spLocks/>
            </p:cNvSpPr>
            <p:nvPr/>
          </p:nvSpPr>
          <p:spPr bwMode="auto">
            <a:xfrm>
              <a:off x="-7226" y="9955"/>
              <a:ext cx="176" cy="144"/>
            </a:xfrm>
            <a:custGeom>
              <a:avLst/>
              <a:gdLst>
                <a:gd name="T0" fmla="*/ 93 w 93"/>
                <a:gd name="T1" fmla="*/ 26 h 76"/>
                <a:gd name="T2" fmla="*/ 75 w 93"/>
                <a:gd name="T3" fmla="*/ 50 h 76"/>
                <a:gd name="T4" fmla="*/ 69 w 93"/>
                <a:gd name="T5" fmla="*/ 58 h 76"/>
                <a:gd name="T6" fmla="*/ 56 w 93"/>
                <a:gd name="T7" fmla="*/ 76 h 76"/>
                <a:gd name="T8" fmla="*/ 50 w 93"/>
                <a:gd name="T9" fmla="*/ 72 h 76"/>
                <a:gd name="T10" fmla="*/ 56 w 93"/>
                <a:gd name="T11" fmla="*/ 62 h 76"/>
                <a:gd name="T12" fmla="*/ 14 w 93"/>
                <a:gd name="T13" fmla="*/ 29 h 76"/>
                <a:gd name="T14" fmla="*/ 6 w 93"/>
                <a:gd name="T15" fmla="*/ 38 h 76"/>
                <a:gd name="T16" fmla="*/ 0 w 93"/>
                <a:gd name="T17" fmla="*/ 34 h 76"/>
                <a:gd name="T18" fmla="*/ 14 w 93"/>
                <a:gd name="T19" fmla="*/ 17 h 76"/>
                <a:gd name="T20" fmla="*/ 26 w 93"/>
                <a:gd name="T21" fmla="*/ 0 h 76"/>
                <a:gd name="T22" fmla="*/ 32 w 93"/>
                <a:gd name="T23" fmla="*/ 4 h 76"/>
                <a:gd name="T24" fmla="*/ 26 w 93"/>
                <a:gd name="T25" fmla="*/ 14 h 76"/>
                <a:gd name="T26" fmla="*/ 69 w 93"/>
                <a:gd name="T27" fmla="*/ 47 h 76"/>
                <a:gd name="T28" fmla="*/ 79 w 93"/>
                <a:gd name="T29" fmla="*/ 33 h 76"/>
                <a:gd name="T30" fmla="*/ 82 w 93"/>
                <a:gd name="T31" fmla="*/ 28 h 76"/>
                <a:gd name="T32" fmla="*/ 74 w 93"/>
                <a:gd name="T33" fmla="*/ 17 h 76"/>
                <a:gd name="T34" fmla="*/ 79 w 93"/>
                <a:gd name="T35" fmla="*/ 11 h 76"/>
                <a:gd name="T36" fmla="*/ 93 w 93"/>
                <a:gd name="T37" fmla="*/ 2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3" h="76">
                  <a:moveTo>
                    <a:pt x="93" y="26"/>
                  </a:moveTo>
                  <a:lnTo>
                    <a:pt x="75" y="50"/>
                  </a:lnTo>
                  <a:lnTo>
                    <a:pt x="69" y="58"/>
                  </a:lnTo>
                  <a:lnTo>
                    <a:pt x="56" y="76"/>
                  </a:lnTo>
                  <a:lnTo>
                    <a:pt x="50" y="72"/>
                  </a:lnTo>
                  <a:lnTo>
                    <a:pt x="56" y="62"/>
                  </a:lnTo>
                  <a:lnTo>
                    <a:pt x="14" y="29"/>
                  </a:lnTo>
                  <a:lnTo>
                    <a:pt x="6" y="38"/>
                  </a:lnTo>
                  <a:lnTo>
                    <a:pt x="0" y="34"/>
                  </a:lnTo>
                  <a:lnTo>
                    <a:pt x="14" y="17"/>
                  </a:lnTo>
                  <a:lnTo>
                    <a:pt x="26" y="0"/>
                  </a:lnTo>
                  <a:lnTo>
                    <a:pt x="32" y="4"/>
                  </a:lnTo>
                  <a:lnTo>
                    <a:pt x="26" y="14"/>
                  </a:lnTo>
                  <a:lnTo>
                    <a:pt x="69" y="47"/>
                  </a:lnTo>
                  <a:cubicBezTo>
                    <a:pt x="69" y="46"/>
                    <a:pt x="78" y="33"/>
                    <a:pt x="79" y="33"/>
                  </a:cubicBezTo>
                  <a:cubicBezTo>
                    <a:pt x="80" y="31"/>
                    <a:pt x="82" y="28"/>
                    <a:pt x="82" y="28"/>
                  </a:cubicBezTo>
                  <a:cubicBezTo>
                    <a:pt x="82" y="27"/>
                    <a:pt x="75" y="18"/>
                    <a:pt x="74" y="17"/>
                  </a:cubicBezTo>
                  <a:lnTo>
                    <a:pt x="79" y="11"/>
                  </a:lnTo>
                  <a:lnTo>
                    <a:pt x="93" y="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5" name="Freeform 39"/>
            <p:cNvSpPr>
              <a:spLocks noEditPoints="1"/>
            </p:cNvSpPr>
            <p:nvPr/>
          </p:nvSpPr>
          <p:spPr bwMode="auto">
            <a:xfrm>
              <a:off x="-7109" y="9806"/>
              <a:ext cx="168" cy="170"/>
            </a:xfrm>
            <a:custGeom>
              <a:avLst/>
              <a:gdLst>
                <a:gd name="T0" fmla="*/ 25 w 89"/>
                <a:gd name="T1" fmla="*/ 23 h 90"/>
                <a:gd name="T2" fmla="*/ 30 w 89"/>
                <a:gd name="T3" fmla="*/ 57 h 90"/>
                <a:gd name="T4" fmla="*/ 63 w 89"/>
                <a:gd name="T5" fmla="*/ 66 h 90"/>
                <a:gd name="T6" fmla="*/ 58 w 89"/>
                <a:gd name="T7" fmla="*/ 32 h 90"/>
                <a:gd name="T8" fmla="*/ 25 w 89"/>
                <a:gd name="T9" fmla="*/ 23 h 90"/>
                <a:gd name="T10" fmla="*/ 69 w 89"/>
                <a:gd name="T11" fmla="*/ 72 h 90"/>
                <a:gd name="T12" fmla="*/ 15 w 89"/>
                <a:gd name="T13" fmla="*/ 71 h 90"/>
                <a:gd name="T14" fmla="*/ 20 w 89"/>
                <a:gd name="T15" fmla="*/ 18 h 90"/>
                <a:gd name="T16" fmla="*/ 73 w 89"/>
                <a:gd name="T17" fmla="*/ 19 h 90"/>
                <a:gd name="T18" fmla="*/ 69 w 89"/>
                <a:gd name="T19" fmla="*/ 72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90">
                  <a:moveTo>
                    <a:pt x="25" y="23"/>
                  </a:moveTo>
                  <a:cubicBezTo>
                    <a:pt x="15" y="32"/>
                    <a:pt x="20" y="47"/>
                    <a:pt x="30" y="57"/>
                  </a:cubicBezTo>
                  <a:cubicBezTo>
                    <a:pt x="39" y="68"/>
                    <a:pt x="54" y="75"/>
                    <a:pt x="63" y="66"/>
                  </a:cubicBezTo>
                  <a:cubicBezTo>
                    <a:pt x="73" y="58"/>
                    <a:pt x="67" y="43"/>
                    <a:pt x="58" y="32"/>
                  </a:cubicBezTo>
                  <a:cubicBezTo>
                    <a:pt x="49" y="22"/>
                    <a:pt x="35" y="15"/>
                    <a:pt x="25" y="23"/>
                  </a:cubicBezTo>
                  <a:close/>
                  <a:moveTo>
                    <a:pt x="69" y="72"/>
                  </a:moveTo>
                  <a:cubicBezTo>
                    <a:pt x="48" y="90"/>
                    <a:pt x="27" y="85"/>
                    <a:pt x="15" y="71"/>
                  </a:cubicBezTo>
                  <a:cubicBezTo>
                    <a:pt x="3" y="58"/>
                    <a:pt x="0" y="36"/>
                    <a:pt x="20" y="18"/>
                  </a:cubicBezTo>
                  <a:cubicBezTo>
                    <a:pt x="40" y="0"/>
                    <a:pt x="62" y="5"/>
                    <a:pt x="73" y="19"/>
                  </a:cubicBezTo>
                  <a:cubicBezTo>
                    <a:pt x="85" y="32"/>
                    <a:pt x="89" y="54"/>
                    <a:pt x="69" y="7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6" name="Freeform 40"/>
            <p:cNvSpPr>
              <a:spLocks/>
            </p:cNvSpPr>
            <p:nvPr/>
          </p:nvSpPr>
          <p:spPr bwMode="auto">
            <a:xfrm>
              <a:off x="-6944" y="9774"/>
              <a:ext cx="75" cy="62"/>
            </a:xfrm>
            <a:custGeom>
              <a:avLst/>
              <a:gdLst>
                <a:gd name="T0" fmla="*/ 17 w 75"/>
                <a:gd name="T1" fmla="*/ 62 h 62"/>
                <a:gd name="T2" fmla="*/ 0 w 75"/>
                <a:gd name="T3" fmla="*/ 36 h 62"/>
                <a:gd name="T4" fmla="*/ 60 w 75"/>
                <a:gd name="T5" fmla="*/ 0 h 62"/>
                <a:gd name="T6" fmla="*/ 75 w 75"/>
                <a:gd name="T7" fmla="*/ 27 h 62"/>
                <a:gd name="T8" fmla="*/ 17 w 75"/>
                <a:gd name="T9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5" h="62">
                  <a:moveTo>
                    <a:pt x="17" y="62"/>
                  </a:moveTo>
                  <a:lnTo>
                    <a:pt x="0" y="36"/>
                  </a:lnTo>
                  <a:lnTo>
                    <a:pt x="60" y="0"/>
                  </a:lnTo>
                  <a:lnTo>
                    <a:pt x="75" y="27"/>
                  </a:lnTo>
                  <a:lnTo>
                    <a:pt x="17" y="6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7" name="Freeform 41"/>
            <p:cNvSpPr>
              <a:spLocks/>
            </p:cNvSpPr>
            <p:nvPr/>
          </p:nvSpPr>
          <p:spPr bwMode="auto">
            <a:xfrm>
              <a:off x="-6895" y="9642"/>
              <a:ext cx="208" cy="177"/>
            </a:xfrm>
            <a:custGeom>
              <a:avLst/>
              <a:gdLst>
                <a:gd name="T0" fmla="*/ 196 w 208"/>
                <a:gd name="T1" fmla="*/ 21 h 177"/>
                <a:gd name="T2" fmla="*/ 189 w 208"/>
                <a:gd name="T3" fmla="*/ 147 h 177"/>
                <a:gd name="T4" fmla="*/ 170 w 208"/>
                <a:gd name="T5" fmla="*/ 155 h 177"/>
                <a:gd name="T6" fmla="*/ 128 w 208"/>
                <a:gd name="T7" fmla="*/ 110 h 177"/>
                <a:gd name="T8" fmla="*/ 124 w 208"/>
                <a:gd name="T9" fmla="*/ 170 h 177"/>
                <a:gd name="T10" fmla="*/ 104 w 208"/>
                <a:gd name="T11" fmla="*/ 177 h 177"/>
                <a:gd name="T12" fmla="*/ 19 w 208"/>
                <a:gd name="T13" fmla="*/ 81 h 177"/>
                <a:gd name="T14" fmla="*/ 5 w 208"/>
                <a:gd name="T15" fmla="*/ 83 h 177"/>
                <a:gd name="T16" fmla="*/ 0 w 208"/>
                <a:gd name="T17" fmla="*/ 72 h 177"/>
                <a:gd name="T18" fmla="*/ 28 w 208"/>
                <a:gd name="T19" fmla="*/ 62 h 177"/>
                <a:gd name="T20" fmla="*/ 58 w 208"/>
                <a:gd name="T21" fmla="*/ 51 h 177"/>
                <a:gd name="T22" fmla="*/ 64 w 208"/>
                <a:gd name="T23" fmla="*/ 64 h 177"/>
                <a:gd name="T24" fmla="*/ 55 w 208"/>
                <a:gd name="T25" fmla="*/ 68 h 177"/>
                <a:gd name="T26" fmla="*/ 111 w 208"/>
                <a:gd name="T27" fmla="*/ 134 h 177"/>
                <a:gd name="T28" fmla="*/ 113 w 208"/>
                <a:gd name="T29" fmla="*/ 91 h 177"/>
                <a:gd name="T30" fmla="*/ 83 w 208"/>
                <a:gd name="T31" fmla="*/ 59 h 177"/>
                <a:gd name="T32" fmla="*/ 73 w 208"/>
                <a:gd name="T33" fmla="*/ 60 h 177"/>
                <a:gd name="T34" fmla="*/ 70 w 208"/>
                <a:gd name="T35" fmla="*/ 47 h 177"/>
                <a:gd name="T36" fmla="*/ 94 w 208"/>
                <a:gd name="T37" fmla="*/ 40 h 177"/>
                <a:gd name="T38" fmla="*/ 128 w 208"/>
                <a:gd name="T39" fmla="*/ 26 h 177"/>
                <a:gd name="T40" fmla="*/ 134 w 208"/>
                <a:gd name="T41" fmla="*/ 40 h 177"/>
                <a:gd name="T42" fmla="*/ 119 w 208"/>
                <a:gd name="T43" fmla="*/ 47 h 177"/>
                <a:gd name="T44" fmla="*/ 176 w 208"/>
                <a:gd name="T45" fmla="*/ 113 h 177"/>
                <a:gd name="T46" fmla="*/ 177 w 208"/>
                <a:gd name="T47" fmla="*/ 26 h 177"/>
                <a:gd name="T48" fmla="*/ 160 w 208"/>
                <a:gd name="T49" fmla="*/ 30 h 177"/>
                <a:gd name="T50" fmla="*/ 157 w 208"/>
                <a:gd name="T51" fmla="*/ 17 h 177"/>
                <a:gd name="T52" fmla="*/ 183 w 208"/>
                <a:gd name="T53" fmla="*/ 10 h 177"/>
                <a:gd name="T54" fmla="*/ 204 w 208"/>
                <a:gd name="T55" fmla="*/ 0 h 177"/>
                <a:gd name="T56" fmla="*/ 208 w 208"/>
                <a:gd name="T57" fmla="*/ 13 h 177"/>
                <a:gd name="T58" fmla="*/ 196 w 208"/>
                <a:gd name="T59" fmla="*/ 21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8" h="177">
                  <a:moveTo>
                    <a:pt x="196" y="21"/>
                  </a:moveTo>
                  <a:lnTo>
                    <a:pt x="189" y="147"/>
                  </a:lnTo>
                  <a:lnTo>
                    <a:pt x="170" y="155"/>
                  </a:lnTo>
                  <a:lnTo>
                    <a:pt x="128" y="110"/>
                  </a:lnTo>
                  <a:lnTo>
                    <a:pt x="124" y="170"/>
                  </a:lnTo>
                  <a:lnTo>
                    <a:pt x="104" y="177"/>
                  </a:lnTo>
                  <a:lnTo>
                    <a:pt x="19" y="81"/>
                  </a:lnTo>
                  <a:lnTo>
                    <a:pt x="5" y="83"/>
                  </a:lnTo>
                  <a:lnTo>
                    <a:pt x="0" y="72"/>
                  </a:lnTo>
                  <a:lnTo>
                    <a:pt x="28" y="62"/>
                  </a:lnTo>
                  <a:lnTo>
                    <a:pt x="58" y="51"/>
                  </a:lnTo>
                  <a:lnTo>
                    <a:pt x="64" y="64"/>
                  </a:lnTo>
                  <a:lnTo>
                    <a:pt x="55" y="68"/>
                  </a:lnTo>
                  <a:lnTo>
                    <a:pt x="111" y="134"/>
                  </a:lnTo>
                  <a:lnTo>
                    <a:pt x="113" y="91"/>
                  </a:lnTo>
                  <a:lnTo>
                    <a:pt x="83" y="59"/>
                  </a:lnTo>
                  <a:lnTo>
                    <a:pt x="73" y="60"/>
                  </a:lnTo>
                  <a:lnTo>
                    <a:pt x="70" y="47"/>
                  </a:lnTo>
                  <a:lnTo>
                    <a:pt x="94" y="40"/>
                  </a:lnTo>
                  <a:lnTo>
                    <a:pt x="128" y="26"/>
                  </a:lnTo>
                  <a:lnTo>
                    <a:pt x="134" y="40"/>
                  </a:lnTo>
                  <a:lnTo>
                    <a:pt x="119" y="47"/>
                  </a:lnTo>
                  <a:lnTo>
                    <a:pt x="176" y="113"/>
                  </a:lnTo>
                  <a:lnTo>
                    <a:pt x="177" y="26"/>
                  </a:lnTo>
                  <a:lnTo>
                    <a:pt x="160" y="30"/>
                  </a:lnTo>
                  <a:lnTo>
                    <a:pt x="157" y="17"/>
                  </a:lnTo>
                  <a:lnTo>
                    <a:pt x="183" y="10"/>
                  </a:lnTo>
                  <a:lnTo>
                    <a:pt x="204" y="0"/>
                  </a:lnTo>
                  <a:lnTo>
                    <a:pt x="208" y="13"/>
                  </a:lnTo>
                  <a:lnTo>
                    <a:pt x="196" y="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8" name="Freeform 42"/>
            <p:cNvSpPr>
              <a:spLocks/>
            </p:cNvSpPr>
            <p:nvPr/>
          </p:nvSpPr>
          <p:spPr bwMode="auto">
            <a:xfrm>
              <a:off x="-6646" y="9638"/>
              <a:ext cx="89" cy="136"/>
            </a:xfrm>
            <a:custGeom>
              <a:avLst/>
              <a:gdLst>
                <a:gd name="T0" fmla="*/ 49 w 89"/>
                <a:gd name="T1" fmla="*/ 132 h 136"/>
                <a:gd name="T2" fmla="*/ 10 w 89"/>
                <a:gd name="T3" fmla="*/ 136 h 136"/>
                <a:gd name="T4" fmla="*/ 8 w 89"/>
                <a:gd name="T5" fmla="*/ 123 h 136"/>
                <a:gd name="T6" fmla="*/ 30 w 89"/>
                <a:gd name="T7" fmla="*/ 119 h 136"/>
                <a:gd name="T8" fmla="*/ 23 w 89"/>
                <a:gd name="T9" fmla="*/ 19 h 136"/>
                <a:gd name="T10" fmla="*/ 0 w 89"/>
                <a:gd name="T11" fmla="*/ 19 h 136"/>
                <a:gd name="T12" fmla="*/ 0 w 89"/>
                <a:gd name="T13" fmla="*/ 6 h 136"/>
                <a:gd name="T14" fmla="*/ 42 w 89"/>
                <a:gd name="T15" fmla="*/ 2 h 136"/>
                <a:gd name="T16" fmla="*/ 81 w 89"/>
                <a:gd name="T17" fmla="*/ 0 h 136"/>
                <a:gd name="T18" fmla="*/ 81 w 89"/>
                <a:gd name="T19" fmla="*/ 14 h 136"/>
                <a:gd name="T20" fmla="*/ 61 w 89"/>
                <a:gd name="T21" fmla="*/ 15 h 136"/>
                <a:gd name="T22" fmla="*/ 66 w 89"/>
                <a:gd name="T23" fmla="*/ 117 h 136"/>
                <a:gd name="T24" fmla="*/ 89 w 89"/>
                <a:gd name="T25" fmla="*/ 117 h 136"/>
                <a:gd name="T26" fmla="*/ 89 w 89"/>
                <a:gd name="T27" fmla="*/ 131 h 136"/>
                <a:gd name="T28" fmla="*/ 49 w 89"/>
                <a:gd name="T29" fmla="*/ 132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9" h="136">
                  <a:moveTo>
                    <a:pt x="49" y="132"/>
                  </a:moveTo>
                  <a:lnTo>
                    <a:pt x="10" y="136"/>
                  </a:lnTo>
                  <a:lnTo>
                    <a:pt x="8" y="123"/>
                  </a:lnTo>
                  <a:lnTo>
                    <a:pt x="30" y="119"/>
                  </a:lnTo>
                  <a:lnTo>
                    <a:pt x="23" y="19"/>
                  </a:lnTo>
                  <a:lnTo>
                    <a:pt x="0" y="19"/>
                  </a:lnTo>
                  <a:lnTo>
                    <a:pt x="0" y="6"/>
                  </a:lnTo>
                  <a:lnTo>
                    <a:pt x="42" y="2"/>
                  </a:lnTo>
                  <a:lnTo>
                    <a:pt x="81" y="0"/>
                  </a:lnTo>
                  <a:lnTo>
                    <a:pt x="81" y="14"/>
                  </a:lnTo>
                  <a:lnTo>
                    <a:pt x="61" y="15"/>
                  </a:lnTo>
                  <a:lnTo>
                    <a:pt x="66" y="117"/>
                  </a:lnTo>
                  <a:lnTo>
                    <a:pt x="89" y="117"/>
                  </a:lnTo>
                  <a:lnTo>
                    <a:pt x="89" y="131"/>
                  </a:lnTo>
                  <a:lnTo>
                    <a:pt x="49" y="13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9" name="Freeform 43"/>
            <p:cNvSpPr>
              <a:spLocks/>
            </p:cNvSpPr>
            <p:nvPr/>
          </p:nvSpPr>
          <p:spPr bwMode="auto">
            <a:xfrm>
              <a:off x="-6517" y="9638"/>
              <a:ext cx="128" cy="147"/>
            </a:xfrm>
            <a:custGeom>
              <a:avLst/>
              <a:gdLst>
                <a:gd name="T0" fmla="*/ 62 w 68"/>
                <a:gd name="T1" fmla="*/ 78 h 78"/>
                <a:gd name="T2" fmla="*/ 32 w 68"/>
                <a:gd name="T3" fmla="*/ 74 h 78"/>
                <a:gd name="T4" fmla="*/ 22 w 68"/>
                <a:gd name="T5" fmla="*/ 72 h 78"/>
                <a:gd name="T6" fmla="*/ 0 w 68"/>
                <a:gd name="T7" fmla="*/ 69 h 78"/>
                <a:gd name="T8" fmla="*/ 1 w 68"/>
                <a:gd name="T9" fmla="*/ 62 h 78"/>
                <a:gd name="T10" fmla="*/ 13 w 68"/>
                <a:gd name="T11" fmla="*/ 63 h 78"/>
                <a:gd name="T12" fmla="*/ 22 w 68"/>
                <a:gd name="T13" fmla="*/ 10 h 78"/>
                <a:gd name="T14" fmla="*/ 10 w 68"/>
                <a:gd name="T15" fmla="*/ 7 h 78"/>
                <a:gd name="T16" fmla="*/ 11 w 68"/>
                <a:gd name="T17" fmla="*/ 0 h 78"/>
                <a:gd name="T18" fmla="*/ 33 w 68"/>
                <a:gd name="T19" fmla="*/ 4 h 78"/>
                <a:gd name="T20" fmla="*/ 54 w 68"/>
                <a:gd name="T21" fmla="*/ 7 h 78"/>
                <a:gd name="T22" fmla="*/ 52 w 68"/>
                <a:gd name="T23" fmla="*/ 14 h 78"/>
                <a:gd name="T24" fmla="*/ 41 w 68"/>
                <a:gd name="T25" fmla="*/ 13 h 78"/>
                <a:gd name="T26" fmla="*/ 32 w 68"/>
                <a:gd name="T27" fmla="*/ 66 h 78"/>
                <a:gd name="T28" fmla="*/ 49 w 68"/>
                <a:gd name="T29" fmla="*/ 69 h 78"/>
                <a:gd name="T30" fmla="*/ 55 w 68"/>
                <a:gd name="T31" fmla="*/ 69 h 78"/>
                <a:gd name="T32" fmla="*/ 61 w 68"/>
                <a:gd name="T33" fmla="*/ 57 h 78"/>
                <a:gd name="T34" fmla="*/ 68 w 68"/>
                <a:gd name="T35" fmla="*/ 58 h 78"/>
                <a:gd name="T36" fmla="*/ 62 w 68"/>
                <a:gd name="T37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8" h="78">
                  <a:moveTo>
                    <a:pt x="62" y="78"/>
                  </a:moveTo>
                  <a:lnTo>
                    <a:pt x="32" y="74"/>
                  </a:lnTo>
                  <a:lnTo>
                    <a:pt x="22" y="72"/>
                  </a:lnTo>
                  <a:lnTo>
                    <a:pt x="0" y="69"/>
                  </a:lnTo>
                  <a:lnTo>
                    <a:pt x="1" y="62"/>
                  </a:lnTo>
                  <a:lnTo>
                    <a:pt x="13" y="63"/>
                  </a:lnTo>
                  <a:lnTo>
                    <a:pt x="22" y="10"/>
                  </a:lnTo>
                  <a:lnTo>
                    <a:pt x="10" y="7"/>
                  </a:lnTo>
                  <a:lnTo>
                    <a:pt x="11" y="0"/>
                  </a:lnTo>
                  <a:lnTo>
                    <a:pt x="33" y="4"/>
                  </a:lnTo>
                  <a:lnTo>
                    <a:pt x="54" y="7"/>
                  </a:lnTo>
                  <a:lnTo>
                    <a:pt x="52" y="14"/>
                  </a:lnTo>
                  <a:lnTo>
                    <a:pt x="41" y="13"/>
                  </a:lnTo>
                  <a:lnTo>
                    <a:pt x="32" y="66"/>
                  </a:lnTo>
                  <a:cubicBezTo>
                    <a:pt x="33" y="66"/>
                    <a:pt x="48" y="69"/>
                    <a:pt x="49" y="69"/>
                  </a:cubicBezTo>
                  <a:cubicBezTo>
                    <a:pt x="51" y="69"/>
                    <a:pt x="55" y="69"/>
                    <a:pt x="55" y="69"/>
                  </a:cubicBezTo>
                  <a:cubicBezTo>
                    <a:pt x="55" y="69"/>
                    <a:pt x="60" y="59"/>
                    <a:pt x="61" y="57"/>
                  </a:cubicBezTo>
                  <a:lnTo>
                    <a:pt x="68" y="58"/>
                  </a:lnTo>
                  <a:lnTo>
                    <a:pt x="62" y="78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44"/>
            <p:cNvSpPr>
              <a:spLocks/>
            </p:cNvSpPr>
            <p:nvPr/>
          </p:nvSpPr>
          <p:spPr bwMode="auto">
            <a:xfrm>
              <a:off x="-6370" y="9674"/>
              <a:ext cx="219" cy="196"/>
            </a:xfrm>
            <a:custGeom>
              <a:avLst/>
              <a:gdLst>
                <a:gd name="T0" fmla="*/ 128 w 219"/>
                <a:gd name="T1" fmla="*/ 178 h 196"/>
                <a:gd name="T2" fmla="*/ 91 w 219"/>
                <a:gd name="T3" fmla="*/ 161 h 196"/>
                <a:gd name="T4" fmla="*/ 96 w 219"/>
                <a:gd name="T5" fmla="*/ 149 h 196"/>
                <a:gd name="T6" fmla="*/ 117 w 219"/>
                <a:gd name="T7" fmla="*/ 157 h 196"/>
                <a:gd name="T8" fmla="*/ 136 w 219"/>
                <a:gd name="T9" fmla="*/ 117 h 196"/>
                <a:gd name="T10" fmla="*/ 77 w 219"/>
                <a:gd name="T11" fmla="*/ 91 h 196"/>
                <a:gd name="T12" fmla="*/ 59 w 219"/>
                <a:gd name="T13" fmla="*/ 128 h 196"/>
                <a:gd name="T14" fmla="*/ 77 w 219"/>
                <a:gd name="T15" fmla="*/ 140 h 196"/>
                <a:gd name="T16" fmla="*/ 72 w 219"/>
                <a:gd name="T17" fmla="*/ 153 h 196"/>
                <a:gd name="T18" fmla="*/ 36 w 219"/>
                <a:gd name="T19" fmla="*/ 134 h 196"/>
                <a:gd name="T20" fmla="*/ 0 w 219"/>
                <a:gd name="T21" fmla="*/ 117 h 196"/>
                <a:gd name="T22" fmla="*/ 6 w 219"/>
                <a:gd name="T23" fmla="*/ 106 h 196"/>
                <a:gd name="T24" fmla="*/ 26 w 219"/>
                <a:gd name="T25" fmla="*/ 113 h 196"/>
                <a:gd name="T26" fmla="*/ 70 w 219"/>
                <a:gd name="T27" fmla="*/ 23 h 196"/>
                <a:gd name="T28" fmla="*/ 51 w 219"/>
                <a:gd name="T29" fmla="*/ 11 h 196"/>
                <a:gd name="T30" fmla="*/ 57 w 219"/>
                <a:gd name="T31" fmla="*/ 0 h 196"/>
                <a:gd name="T32" fmla="*/ 93 w 219"/>
                <a:gd name="T33" fmla="*/ 17 h 196"/>
                <a:gd name="T34" fmla="*/ 128 w 219"/>
                <a:gd name="T35" fmla="*/ 34 h 196"/>
                <a:gd name="T36" fmla="*/ 123 w 219"/>
                <a:gd name="T37" fmla="*/ 45 h 196"/>
                <a:gd name="T38" fmla="*/ 102 w 219"/>
                <a:gd name="T39" fmla="*/ 38 h 196"/>
                <a:gd name="T40" fmla="*/ 85 w 219"/>
                <a:gd name="T41" fmla="*/ 76 h 196"/>
                <a:gd name="T42" fmla="*/ 142 w 219"/>
                <a:gd name="T43" fmla="*/ 104 h 196"/>
                <a:gd name="T44" fmla="*/ 161 w 219"/>
                <a:gd name="T45" fmla="*/ 66 h 196"/>
                <a:gd name="T46" fmla="*/ 142 w 219"/>
                <a:gd name="T47" fmla="*/ 55 h 196"/>
                <a:gd name="T48" fmla="*/ 147 w 219"/>
                <a:gd name="T49" fmla="*/ 44 h 196"/>
                <a:gd name="T50" fmla="*/ 181 w 219"/>
                <a:gd name="T51" fmla="*/ 61 h 196"/>
                <a:gd name="T52" fmla="*/ 219 w 219"/>
                <a:gd name="T53" fmla="*/ 78 h 196"/>
                <a:gd name="T54" fmla="*/ 213 w 219"/>
                <a:gd name="T55" fmla="*/ 91 h 196"/>
                <a:gd name="T56" fmla="*/ 193 w 219"/>
                <a:gd name="T57" fmla="*/ 81 h 196"/>
                <a:gd name="T58" fmla="*/ 149 w 219"/>
                <a:gd name="T59" fmla="*/ 172 h 196"/>
                <a:gd name="T60" fmla="*/ 168 w 219"/>
                <a:gd name="T61" fmla="*/ 183 h 196"/>
                <a:gd name="T62" fmla="*/ 162 w 219"/>
                <a:gd name="T63" fmla="*/ 196 h 196"/>
                <a:gd name="T64" fmla="*/ 128 w 219"/>
                <a:gd name="T65" fmla="*/ 178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19" h="196">
                  <a:moveTo>
                    <a:pt x="128" y="178"/>
                  </a:moveTo>
                  <a:lnTo>
                    <a:pt x="91" y="161"/>
                  </a:lnTo>
                  <a:lnTo>
                    <a:pt x="96" y="149"/>
                  </a:lnTo>
                  <a:lnTo>
                    <a:pt x="117" y="157"/>
                  </a:lnTo>
                  <a:lnTo>
                    <a:pt x="136" y="117"/>
                  </a:lnTo>
                  <a:lnTo>
                    <a:pt x="77" y="91"/>
                  </a:lnTo>
                  <a:lnTo>
                    <a:pt x="59" y="128"/>
                  </a:lnTo>
                  <a:lnTo>
                    <a:pt x="77" y="140"/>
                  </a:lnTo>
                  <a:lnTo>
                    <a:pt x="72" y="153"/>
                  </a:lnTo>
                  <a:lnTo>
                    <a:pt x="36" y="134"/>
                  </a:lnTo>
                  <a:lnTo>
                    <a:pt x="0" y="117"/>
                  </a:lnTo>
                  <a:lnTo>
                    <a:pt x="6" y="106"/>
                  </a:lnTo>
                  <a:lnTo>
                    <a:pt x="26" y="113"/>
                  </a:lnTo>
                  <a:lnTo>
                    <a:pt x="70" y="23"/>
                  </a:lnTo>
                  <a:lnTo>
                    <a:pt x="51" y="11"/>
                  </a:lnTo>
                  <a:lnTo>
                    <a:pt x="57" y="0"/>
                  </a:lnTo>
                  <a:lnTo>
                    <a:pt x="93" y="17"/>
                  </a:lnTo>
                  <a:lnTo>
                    <a:pt x="128" y="34"/>
                  </a:lnTo>
                  <a:lnTo>
                    <a:pt x="123" y="45"/>
                  </a:lnTo>
                  <a:lnTo>
                    <a:pt x="102" y="38"/>
                  </a:lnTo>
                  <a:lnTo>
                    <a:pt x="85" y="76"/>
                  </a:lnTo>
                  <a:lnTo>
                    <a:pt x="142" y="104"/>
                  </a:lnTo>
                  <a:lnTo>
                    <a:pt x="161" y="66"/>
                  </a:lnTo>
                  <a:lnTo>
                    <a:pt x="142" y="55"/>
                  </a:lnTo>
                  <a:lnTo>
                    <a:pt x="147" y="44"/>
                  </a:lnTo>
                  <a:lnTo>
                    <a:pt x="181" y="61"/>
                  </a:lnTo>
                  <a:lnTo>
                    <a:pt x="219" y="78"/>
                  </a:lnTo>
                  <a:lnTo>
                    <a:pt x="213" y="91"/>
                  </a:lnTo>
                  <a:lnTo>
                    <a:pt x="193" y="81"/>
                  </a:lnTo>
                  <a:lnTo>
                    <a:pt x="149" y="172"/>
                  </a:lnTo>
                  <a:lnTo>
                    <a:pt x="168" y="183"/>
                  </a:lnTo>
                  <a:lnTo>
                    <a:pt x="162" y="196"/>
                  </a:lnTo>
                  <a:lnTo>
                    <a:pt x="128" y="1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45"/>
            <p:cNvSpPr>
              <a:spLocks/>
            </p:cNvSpPr>
            <p:nvPr/>
          </p:nvSpPr>
          <p:spPr bwMode="auto">
            <a:xfrm>
              <a:off x="-6189" y="9787"/>
              <a:ext cx="180" cy="180"/>
            </a:xfrm>
            <a:custGeom>
              <a:avLst/>
              <a:gdLst>
                <a:gd name="T0" fmla="*/ 25 w 95"/>
                <a:gd name="T1" fmla="*/ 74 h 95"/>
                <a:gd name="T2" fmla="*/ 18 w 95"/>
                <a:gd name="T3" fmla="*/ 67 h 95"/>
                <a:gd name="T4" fmla="*/ 0 w 95"/>
                <a:gd name="T5" fmla="*/ 53 h 95"/>
                <a:gd name="T6" fmla="*/ 5 w 95"/>
                <a:gd name="T7" fmla="*/ 47 h 95"/>
                <a:gd name="T8" fmla="*/ 15 w 95"/>
                <a:gd name="T9" fmla="*/ 55 h 95"/>
                <a:gd name="T10" fmla="*/ 50 w 95"/>
                <a:gd name="T11" fmla="*/ 14 h 95"/>
                <a:gd name="T12" fmla="*/ 41 w 95"/>
                <a:gd name="T13" fmla="*/ 5 h 95"/>
                <a:gd name="T14" fmla="*/ 46 w 95"/>
                <a:gd name="T15" fmla="*/ 0 h 95"/>
                <a:gd name="T16" fmla="*/ 62 w 95"/>
                <a:gd name="T17" fmla="*/ 14 h 95"/>
                <a:gd name="T18" fmla="*/ 74 w 95"/>
                <a:gd name="T19" fmla="*/ 24 h 95"/>
                <a:gd name="T20" fmla="*/ 86 w 95"/>
                <a:gd name="T21" fmla="*/ 34 h 95"/>
                <a:gd name="T22" fmla="*/ 89 w 95"/>
                <a:gd name="T23" fmla="*/ 32 h 95"/>
                <a:gd name="T24" fmla="*/ 95 w 95"/>
                <a:gd name="T25" fmla="*/ 37 h 95"/>
                <a:gd name="T26" fmla="*/ 91 w 95"/>
                <a:gd name="T27" fmla="*/ 41 h 95"/>
                <a:gd name="T28" fmla="*/ 81 w 95"/>
                <a:gd name="T29" fmla="*/ 54 h 95"/>
                <a:gd name="T30" fmla="*/ 75 w 95"/>
                <a:gd name="T31" fmla="*/ 50 h 95"/>
                <a:gd name="T32" fmla="*/ 80 w 95"/>
                <a:gd name="T33" fmla="*/ 40 h 95"/>
                <a:gd name="T34" fmla="*/ 64 w 95"/>
                <a:gd name="T35" fmla="*/ 27 h 95"/>
                <a:gd name="T36" fmla="*/ 50 w 95"/>
                <a:gd name="T37" fmla="*/ 43 h 95"/>
                <a:gd name="T38" fmla="*/ 62 w 95"/>
                <a:gd name="T39" fmla="*/ 54 h 95"/>
                <a:gd name="T40" fmla="*/ 68 w 95"/>
                <a:gd name="T41" fmla="*/ 48 h 95"/>
                <a:gd name="T42" fmla="*/ 73 w 95"/>
                <a:gd name="T43" fmla="*/ 53 h 95"/>
                <a:gd name="T44" fmla="*/ 57 w 95"/>
                <a:gd name="T45" fmla="*/ 71 h 95"/>
                <a:gd name="T46" fmla="*/ 52 w 95"/>
                <a:gd name="T47" fmla="*/ 67 h 95"/>
                <a:gd name="T48" fmla="*/ 57 w 95"/>
                <a:gd name="T49" fmla="*/ 60 h 95"/>
                <a:gd name="T50" fmla="*/ 45 w 95"/>
                <a:gd name="T51" fmla="*/ 50 h 95"/>
                <a:gd name="T52" fmla="*/ 32 w 95"/>
                <a:gd name="T53" fmla="*/ 65 h 95"/>
                <a:gd name="T54" fmla="*/ 30 w 95"/>
                <a:gd name="T55" fmla="*/ 67 h 95"/>
                <a:gd name="T56" fmla="*/ 35 w 95"/>
                <a:gd name="T57" fmla="*/ 71 h 95"/>
                <a:gd name="T58" fmla="*/ 44 w 95"/>
                <a:gd name="T59" fmla="*/ 80 h 95"/>
                <a:gd name="T60" fmla="*/ 49 w 95"/>
                <a:gd name="T61" fmla="*/ 83 h 95"/>
                <a:gd name="T62" fmla="*/ 57 w 95"/>
                <a:gd name="T63" fmla="*/ 76 h 95"/>
                <a:gd name="T64" fmla="*/ 62 w 95"/>
                <a:gd name="T65" fmla="*/ 80 h 95"/>
                <a:gd name="T66" fmla="*/ 50 w 95"/>
                <a:gd name="T67" fmla="*/ 95 h 95"/>
                <a:gd name="T68" fmla="*/ 25 w 95"/>
                <a:gd name="T69" fmla="*/ 74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95" h="95">
                  <a:moveTo>
                    <a:pt x="25" y="74"/>
                  </a:moveTo>
                  <a:lnTo>
                    <a:pt x="18" y="67"/>
                  </a:lnTo>
                  <a:lnTo>
                    <a:pt x="0" y="53"/>
                  </a:lnTo>
                  <a:lnTo>
                    <a:pt x="5" y="47"/>
                  </a:lnTo>
                  <a:lnTo>
                    <a:pt x="15" y="55"/>
                  </a:lnTo>
                  <a:lnTo>
                    <a:pt x="50" y="14"/>
                  </a:lnTo>
                  <a:lnTo>
                    <a:pt x="41" y="5"/>
                  </a:lnTo>
                  <a:lnTo>
                    <a:pt x="46" y="0"/>
                  </a:lnTo>
                  <a:lnTo>
                    <a:pt x="62" y="14"/>
                  </a:lnTo>
                  <a:lnTo>
                    <a:pt x="74" y="24"/>
                  </a:lnTo>
                  <a:lnTo>
                    <a:pt x="86" y="34"/>
                  </a:lnTo>
                  <a:lnTo>
                    <a:pt x="89" y="32"/>
                  </a:lnTo>
                  <a:lnTo>
                    <a:pt x="95" y="37"/>
                  </a:lnTo>
                  <a:lnTo>
                    <a:pt x="91" y="41"/>
                  </a:lnTo>
                  <a:lnTo>
                    <a:pt x="81" y="54"/>
                  </a:lnTo>
                  <a:lnTo>
                    <a:pt x="75" y="50"/>
                  </a:lnTo>
                  <a:lnTo>
                    <a:pt x="80" y="40"/>
                  </a:lnTo>
                  <a:lnTo>
                    <a:pt x="64" y="27"/>
                  </a:lnTo>
                  <a:lnTo>
                    <a:pt x="50" y="43"/>
                  </a:lnTo>
                  <a:lnTo>
                    <a:pt x="62" y="54"/>
                  </a:lnTo>
                  <a:lnTo>
                    <a:pt x="68" y="48"/>
                  </a:lnTo>
                  <a:lnTo>
                    <a:pt x="73" y="53"/>
                  </a:lnTo>
                  <a:lnTo>
                    <a:pt x="57" y="71"/>
                  </a:lnTo>
                  <a:lnTo>
                    <a:pt x="52" y="67"/>
                  </a:lnTo>
                  <a:lnTo>
                    <a:pt x="57" y="60"/>
                  </a:lnTo>
                  <a:lnTo>
                    <a:pt x="45" y="50"/>
                  </a:lnTo>
                  <a:lnTo>
                    <a:pt x="32" y="65"/>
                  </a:lnTo>
                  <a:cubicBezTo>
                    <a:pt x="31" y="66"/>
                    <a:pt x="30" y="67"/>
                    <a:pt x="30" y="67"/>
                  </a:cubicBezTo>
                  <a:cubicBezTo>
                    <a:pt x="31" y="68"/>
                    <a:pt x="32" y="69"/>
                    <a:pt x="35" y="71"/>
                  </a:cubicBezTo>
                  <a:cubicBezTo>
                    <a:pt x="39" y="75"/>
                    <a:pt x="44" y="79"/>
                    <a:pt x="44" y="80"/>
                  </a:cubicBezTo>
                  <a:cubicBezTo>
                    <a:pt x="46" y="81"/>
                    <a:pt x="48" y="83"/>
                    <a:pt x="49" y="83"/>
                  </a:cubicBezTo>
                  <a:cubicBezTo>
                    <a:pt x="49" y="83"/>
                    <a:pt x="55" y="77"/>
                    <a:pt x="57" y="76"/>
                  </a:cubicBezTo>
                  <a:lnTo>
                    <a:pt x="62" y="80"/>
                  </a:lnTo>
                  <a:lnTo>
                    <a:pt x="50" y="95"/>
                  </a:lnTo>
                  <a:lnTo>
                    <a:pt x="25" y="74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46"/>
            <p:cNvSpPr>
              <a:spLocks/>
            </p:cNvSpPr>
            <p:nvPr/>
          </p:nvSpPr>
          <p:spPr bwMode="auto">
            <a:xfrm>
              <a:off x="-6072" y="9908"/>
              <a:ext cx="153" cy="174"/>
            </a:xfrm>
            <a:custGeom>
              <a:avLst/>
              <a:gdLst>
                <a:gd name="T0" fmla="*/ 39 w 81"/>
                <a:gd name="T1" fmla="*/ 92 h 92"/>
                <a:gd name="T2" fmla="*/ 20 w 81"/>
                <a:gd name="T3" fmla="*/ 68 h 92"/>
                <a:gd name="T4" fmla="*/ 14 w 81"/>
                <a:gd name="T5" fmla="*/ 61 h 92"/>
                <a:gd name="T6" fmla="*/ 0 w 81"/>
                <a:gd name="T7" fmla="*/ 44 h 92"/>
                <a:gd name="T8" fmla="*/ 5 w 81"/>
                <a:gd name="T9" fmla="*/ 39 h 92"/>
                <a:gd name="T10" fmla="*/ 14 w 81"/>
                <a:gd name="T11" fmla="*/ 48 h 92"/>
                <a:gd name="T12" fmla="*/ 55 w 81"/>
                <a:gd name="T13" fmla="*/ 14 h 92"/>
                <a:gd name="T14" fmla="*/ 49 w 81"/>
                <a:gd name="T15" fmla="*/ 5 h 92"/>
                <a:gd name="T16" fmla="*/ 54 w 81"/>
                <a:gd name="T17" fmla="*/ 0 h 92"/>
                <a:gd name="T18" fmla="*/ 68 w 81"/>
                <a:gd name="T19" fmla="*/ 17 h 92"/>
                <a:gd name="T20" fmla="*/ 81 w 81"/>
                <a:gd name="T21" fmla="*/ 33 h 92"/>
                <a:gd name="T22" fmla="*/ 75 w 81"/>
                <a:gd name="T23" fmla="*/ 38 h 92"/>
                <a:gd name="T24" fmla="*/ 67 w 81"/>
                <a:gd name="T25" fmla="*/ 29 h 92"/>
                <a:gd name="T26" fmla="*/ 25 w 81"/>
                <a:gd name="T27" fmla="*/ 63 h 92"/>
                <a:gd name="T28" fmla="*/ 36 w 81"/>
                <a:gd name="T29" fmla="*/ 76 h 92"/>
                <a:gd name="T30" fmla="*/ 40 w 81"/>
                <a:gd name="T31" fmla="*/ 80 h 92"/>
                <a:gd name="T32" fmla="*/ 53 w 81"/>
                <a:gd name="T33" fmla="*/ 76 h 92"/>
                <a:gd name="T34" fmla="*/ 57 w 81"/>
                <a:gd name="T35" fmla="*/ 81 h 92"/>
                <a:gd name="T36" fmla="*/ 39 w 81"/>
                <a:gd name="T37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1" h="92">
                  <a:moveTo>
                    <a:pt x="39" y="92"/>
                  </a:moveTo>
                  <a:lnTo>
                    <a:pt x="20" y="68"/>
                  </a:lnTo>
                  <a:lnTo>
                    <a:pt x="14" y="61"/>
                  </a:lnTo>
                  <a:lnTo>
                    <a:pt x="0" y="44"/>
                  </a:lnTo>
                  <a:lnTo>
                    <a:pt x="5" y="39"/>
                  </a:lnTo>
                  <a:lnTo>
                    <a:pt x="14" y="48"/>
                  </a:lnTo>
                  <a:lnTo>
                    <a:pt x="55" y="14"/>
                  </a:lnTo>
                  <a:lnTo>
                    <a:pt x="49" y="5"/>
                  </a:lnTo>
                  <a:lnTo>
                    <a:pt x="54" y="0"/>
                  </a:lnTo>
                  <a:lnTo>
                    <a:pt x="68" y="17"/>
                  </a:lnTo>
                  <a:lnTo>
                    <a:pt x="81" y="33"/>
                  </a:lnTo>
                  <a:lnTo>
                    <a:pt x="75" y="38"/>
                  </a:lnTo>
                  <a:lnTo>
                    <a:pt x="67" y="29"/>
                  </a:lnTo>
                  <a:lnTo>
                    <a:pt x="25" y="63"/>
                  </a:lnTo>
                  <a:cubicBezTo>
                    <a:pt x="26" y="64"/>
                    <a:pt x="36" y="76"/>
                    <a:pt x="36" y="76"/>
                  </a:cubicBezTo>
                  <a:cubicBezTo>
                    <a:pt x="37" y="78"/>
                    <a:pt x="40" y="80"/>
                    <a:pt x="40" y="80"/>
                  </a:cubicBezTo>
                  <a:cubicBezTo>
                    <a:pt x="41" y="80"/>
                    <a:pt x="51" y="76"/>
                    <a:pt x="53" y="76"/>
                  </a:cubicBezTo>
                  <a:lnTo>
                    <a:pt x="57" y="81"/>
                  </a:lnTo>
                  <a:lnTo>
                    <a:pt x="39" y="9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47"/>
            <p:cNvSpPr>
              <a:spLocks/>
            </p:cNvSpPr>
            <p:nvPr/>
          </p:nvSpPr>
          <p:spPr bwMode="auto">
            <a:xfrm>
              <a:off x="-5979" y="10046"/>
              <a:ext cx="208" cy="240"/>
            </a:xfrm>
            <a:custGeom>
              <a:avLst/>
              <a:gdLst>
                <a:gd name="T0" fmla="*/ 74 w 208"/>
                <a:gd name="T1" fmla="*/ 202 h 240"/>
                <a:gd name="T2" fmla="*/ 57 w 208"/>
                <a:gd name="T3" fmla="*/ 172 h 240"/>
                <a:gd name="T4" fmla="*/ 70 w 208"/>
                <a:gd name="T5" fmla="*/ 166 h 240"/>
                <a:gd name="T6" fmla="*/ 77 w 208"/>
                <a:gd name="T7" fmla="*/ 179 h 240"/>
                <a:gd name="T8" fmla="*/ 153 w 208"/>
                <a:gd name="T9" fmla="*/ 140 h 240"/>
                <a:gd name="T10" fmla="*/ 36 w 208"/>
                <a:gd name="T11" fmla="*/ 141 h 240"/>
                <a:gd name="T12" fmla="*/ 102 w 208"/>
                <a:gd name="T13" fmla="*/ 51 h 240"/>
                <a:gd name="T14" fmla="*/ 30 w 208"/>
                <a:gd name="T15" fmla="*/ 85 h 240"/>
                <a:gd name="T16" fmla="*/ 36 w 208"/>
                <a:gd name="T17" fmla="*/ 102 h 240"/>
                <a:gd name="T18" fmla="*/ 25 w 208"/>
                <a:gd name="T19" fmla="*/ 107 h 240"/>
                <a:gd name="T20" fmla="*/ 15 w 208"/>
                <a:gd name="T21" fmla="*/ 87 h 240"/>
                <a:gd name="T22" fmla="*/ 0 w 208"/>
                <a:gd name="T23" fmla="*/ 57 h 240"/>
                <a:gd name="T24" fmla="*/ 11 w 208"/>
                <a:gd name="T25" fmla="*/ 51 h 240"/>
                <a:gd name="T26" fmla="*/ 23 w 208"/>
                <a:gd name="T27" fmla="*/ 68 h 240"/>
                <a:gd name="T28" fmla="*/ 113 w 208"/>
                <a:gd name="T29" fmla="*/ 26 h 240"/>
                <a:gd name="T30" fmla="*/ 106 w 208"/>
                <a:gd name="T31" fmla="*/ 6 h 240"/>
                <a:gd name="T32" fmla="*/ 117 w 208"/>
                <a:gd name="T33" fmla="*/ 0 h 240"/>
                <a:gd name="T34" fmla="*/ 132 w 208"/>
                <a:gd name="T35" fmla="*/ 30 h 240"/>
                <a:gd name="T36" fmla="*/ 144 w 208"/>
                <a:gd name="T37" fmla="*/ 51 h 240"/>
                <a:gd name="T38" fmla="*/ 91 w 208"/>
                <a:gd name="T39" fmla="*/ 123 h 240"/>
                <a:gd name="T40" fmla="*/ 178 w 208"/>
                <a:gd name="T41" fmla="*/ 121 h 240"/>
                <a:gd name="T42" fmla="*/ 185 w 208"/>
                <a:gd name="T43" fmla="*/ 136 h 240"/>
                <a:gd name="T44" fmla="*/ 208 w 208"/>
                <a:gd name="T45" fmla="*/ 177 h 240"/>
                <a:gd name="T46" fmla="*/ 195 w 208"/>
                <a:gd name="T47" fmla="*/ 183 h 240"/>
                <a:gd name="T48" fmla="*/ 183 w 208"/>
                <a:gd name="T49" fmla="*/ 164 h 240"/>
                <a:gd name="T50" fmla="*/ 94 w 208"/>
                <a:gd name="T51" fmla="*/ 211 h 240"/>
                <a:gd name="T52" fmla="*/ 102 w 208"/>
                <a:gd name="T53" fmla="*/ 234 h 240"/>
                <a:gd name="T54" fmla="*/ 91 w 208"/>
                <a:gd name="T55" fmla="*/ 240 h 240"/>
                <a:gd name="T56" fmla="*/ 74 w 208"/>
                <a:gd name="T57" fmla="*/ 202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08" h="240">
                  <a:moveTo>
                    <a:pt x="74" y="202"/>
                  </a:moveTo>
                  <a:lnTo>
                    <a:pt x="57" y="172"/>
                  </a:lnTo>
                  <a:lnTo>
                    <a:pt x="70" y="166"/>
                  </a:lnTo>
                  <a:lnTo>
                    <a:pt x="77" y="179"/>
                  </a:lnTo>
                  <a:lnTo>
                    <a:pt x="153" y="140"/>
                  </a:lnTo>
                  <a:lnTo>
                    <a:pt x="36" y="141"/>
                  </a:lnTo>
                  <a:lnTo>
                    <a:pt x="102" y="51"/>
                  </a:lnTo>
                  <a:lnTo>
                    <a:pt x="30" y="85"/>
                  </a:lnTo>
                  <a:lnTo>
                    <a:pt x="36" y="102"/>
                  </a:lnTo>
                  <a:lnTo>
                    <a:pt x="25" y="107"/>
                  </a:lnTo>
                  <a:lnTo>
                    <a:pt x="15" y="87"/>
                  </a:lnTo>
                  <a:lnTo>
                    <a:pt x="0" y="57"/>
                  </a:lnTo>
                  <a:lnTo>
                    <a:pt x="11" y="51"/>
                  </a:lnTo>
                  <a:lnTo>
                    <a:pt x="23" y="68"/>
                  </a:lnTo>
                  <a:lnTo>
                    <a:pt x="113" y="26"/>
                  </a:lnTo>
                  <a:lnTo>
                    <a:pt x="106" y="6"/>
                  </a:lnTo>
                  <a:lnTo>
                    <a:pt x="117" y="0"/>
                  </a:lnTo>
                  <a:lnTo>
                    <a:pt x="132" y="30"/>
                  </a:lnTo>
                  <a:lnTo>
                    <a:pt x="144" y="51"/>
                  </a:lnTo>
                  <a:lnTo>
                    <a:pt x="91" y="123"/>
                  </a:lnTo>
                  <a:lnTo>
                    <a:pt x="178" y="121"/>
                  </a:lnTo>
                  <a:lnTo>
                    <a:pt x="185" y="136"/>
                  </a:lnTo>
                  <a:lnTo>
                    <a:pt x="208" y="177"/>
                  </a:lnTo>
                  <a:lnTo>
                    <a:pt x="195" y="183"/>
                  </a:lnTo>
                  <a:lnTo>
                    <a:pt x="183" y="164"/>
                  </a:lnTo>
                  <a:lnTo>
                    <a:pt x="94" y="211"/>
                  </a:lnTo>
                  <a:lnTo>
                    <a:pt x="102" y="234"/>
                  </a:lnTo>
                  <a:lnTo>
                    <a:pt x="91" y="240"/>
                  </a:lnTo>
                  <a:lnTo>
                    <a:pt x="74" y="20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48"/>
            <p:cNvSpPr>
              <a:spLocks/>
            </p:cNvSpPr>
            <p:nvPr/>
          </p:nvSpPr>
          <p:spPr bwMode="auto">
            <a:xfrm>
              <a:off x="-5881" y="10278"/>
              <a:ext cx="148" cy="115"/>
            </a:xfrm>
            <a:custGeom>
              <a:avLst/>
              <a:gdLst>
                <a:gd name="T0" fmla="*/ 12 w 148"/>
                <a:gd name="T1" fmla="*/ 77 h 115"/>
                <a:gd name="T2" fmla="*/ 0 w 148"/>
                <a:gd name="T3" fmla="*/ 38 h 115"/>
                <a:gd name="T4" fmla="*/ 12 w 148"/>
                <a:gd name="T5" fmla="*/ 34 h 115"/>
                <a:gd name="T6" fmla="*/ 21 w 148"/>
                <a:gd name="T7" fmla="*/ 55 h 115"/>
                <a:gd name="T8" fmla="*/ 117 w 148"/>
                <a:gd name="T9" fmla="*/ 26 h 115"/>
                <a:gd name="T10" fmla="*/ 112 w 148"/>
                <a:gd name="T11" fmla="*/ 4 h 115"/>
                <a:gd name="T12" fmla="*/ 125 w 148"/>
                <a:gd name="T13" fmla="*/ 0 h 115"/>
                <a:gd name="T14" fmla="*/ 136 w 148"/>
                <a:gd name="T15" fmla="*/ 40 h 115"/>
                <a:gd name="T16" fmla="*/ 148 w 148"/>
                <a:gd name="T17" fmla="*/ 77 h 115"/>
                <a:gd name="T18" fmla="*/ 136 w 148"/>
                <a:gd name="T19" fmla="*/ 81 h 115"/>
                <a:gd name="T20" fmla="*/ 127 w 148"/>
                <a:gd name="T21" fmla="*/ 60 h 115"/>
                <a:gd name="T22" fmla="*/ 30 w 148"/>
                <a:gd name="T23" fmla="*/ 91 h 115"/>
                <a:gd name="T24" fmla="*/ 36 w 148"/>
                <a:gd name="T25" fmla="*/ 111 h 115"/>
                <a:gd name="T26" fmla="*/ 23 w 148"/>
                <a:gd name="T27" fmla="*/ 115 h 115"/>
                <a:gd name="T28" fmla="*/ 12 w 148"/>
                <a:gd name="T29" fmla="*/ 77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8" h="115">
                  <a:moveTo>
                    <a:pt x="12" y="77"/>
                  </a:moveTo>
                  <a:lnTo>
                    <a:pt x="0" y="38"/>
                  </a:lnTo>
                  <a:lnTo>
                    <a:pt x="12" y="34"/>
                  </a:lnTo>
                  <a:lnTo>
                    <a:pt x="21" y="55"/>
                  </a:lnTo>
                  <a:lnTo>
                    <a:pt x="117" y="26"/>
                  </a:lnTo>
                  <a:lnTo>
                    <a:pt x="112" y="4"/>
                  </a:lnTo>
                  <a:lnTo>
                    <a:pt x="125" y="0"/>
                  </a:lnTo>
                  <a:lnTo>
                    <a:pt x="136" y="40"/>
                  </a:lnTo>
                  <a:lnTo>
                    <a:pt x="148" y="77"/>
                  </a:lnTo>
                  <a:lnTo>
                    <a:pt x="136" y="81"/>
                  </a:lnTo>
                  <a:lnTo>
                    <a:pt x="127" y="60"/>
                  </a:lnTo>
                  <a:lnTo>
                    <a:pt x="30" y="91"/>
                  </a:lnTo>
                  <a:lnTo>
                    <a:pt x="36" y="111"/>
                  </a:lnTo>
                  <a:lnTo>
                    <a:pt x="23" y="115"/>
                  </a:lnTo>
                  <a:lnTo>
                    <a:pt x="12" y="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49"/>
            <p:cNvSpPr>
              <a:spLocks/>
            </p:cNvSpPr>
            <p:nvPr/>
          </p:nvSpPr>
          <p:spPr bwMode="auto">
            <a:xfrm>
              <a:off x="-5849" y="10406"/>
              <a:ext cx="153" cy="164"/>
            </a:xfrm>
            <a:custGeom>
              <a:avLst/>
              <a:gdLst>
                <a:gd name="T0" fmla="*/ 72 w 81"/>
                <a:gd name="T1" fmla="*/ 77 h 87"/>
                <a:gd name="T2" fmla="*/ 10 w 81"/>
                <a:gd name="T3" fmla="*/ 85 h 87"/>
                <a:gd name="T4" fmla="*/ 8 w 81"/>
                <a:gd name="T5" fmla="*/ 73 h 87"/>
                <a:gd name="T6" fmla="*/ 51 w 81"/>
                <a:gd name="T7" fmla="*/ 26 h 87"/>
                <a:gd name="T8" fmla="*/ 11 w 81"/>
                <a:gd name="T9" fmla="*/ 32 h 87"/>
                <a:gd name="T10" fmla="*/ 12 w 81"/>
                <a:gd name="T11" fmla="*/ 42 h 87"/>
                <a:gd name="T12" fmla="*/ 5 w 81"/>
                <a:gd name="T13" fmla="*/ 43 h 87"/>
                <a:gd name="T14" fmla="*/ 3 w 81"/>
                <a:gd name="T15" fmla="*/ 28 h 87"/>
                <a:gd name="T16" fmla="*/ 0 w 81"/>
                <a:gd name="T17" fmla="*/ 12 h 87"/>
                <a:gd name="T18" fmla="*/ 7 w 81"/>
                <a:gd name="T19" fmla="*/ 11 h 87"/>
                <a:gd name="T20" fmla="*/ 10 w 81"/>
                <a:gd name="T21" fmla="*/ 21 h 87"/>
                <a:gd name="T22" fmla="*/ 61 w 81"/>
                <a:gd name="T23" fmla="*/ 14 h 87"/>
                <a:gd name="T24" fmla="*/ 62 w 81"/>
                <a:gd name="T25" fmla="*/ 1 h 87"/>
                <a:gd name="T26" fmla="*/ 69 w 81"/>
                <a:gd name="T27" fmla="*/ 0 h 87"/>
                <a:gd name="T28" fmla="*/ 73 w 81"/>
                <a:gd name="T29" fmla="*/ 29 h 87"/>
                <a:gd name="T30" fmla="*/ 34 w 81"/>
                <a:gd name="T31" fmla="*/ 72 h 87"/>
                <a:gd name="T32" fmla="*/ 70 w 81"/>
                <a:gd name="T33" fmla="*/ 67 h 87"/>
                <a:gd name="T34" fmla="*/ 70 w 81"/>
                <a:gd name="T35" fmla="*/ 56 h 87"/>
                <a:gd name="T36" fmla="*/ 76 w 81"/>
                <a:gd name="T37" fmla="*/ 55 h 87"/>
                <a:gd name="T38" fmla="*/ 78 w 81"/>
                <a:gd name="T39" fmla="*/ 70 h 87"/>
                <a:gd name="T40" fmla="*/ 81 w 81"/>
                <a:gd name="T41" fmla="*/ 86 h 87"/>
                <a:gd name="T42" fmla="*/ 74 w 81"/>
                <a:gd name="T43" fmla="*/ 87 h 87"/>
                <a:gd name="T44" fmla="*/ 72 w 81"/>
                <a:gd name="T45" fmla="*/ 7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1" h="87">
                  <a:moveTo>
                    <a:pt x="72" y="77"/>
                  </a:moveTo>
                  <a:lnTo>
                    <a:pt x="10" y="85"/>
                  </a:lnTo>
                  <a:lnTo>
                    <a:pt x="8" y="73"/>
                  </a:lnTo>
                  <a:lnTo>
                    <a:pt x="51" y="26"/>
                  </a:lnTo>
                  <a:lnTo>
                    <a:pt x="11" y="32"/>
                  </a:lnTo>
                  <a:lnTo>
                    <a:pt x="12" y="42"/>
                  </a:lnTo>
                  <a:lnTo>
                    <a:pt x="5" y="43"/>
                  </a:lnTo>
                  <a:lnTo>
                    <a:pt x="3" y="28"/>
                  </a:lnTo>
                  <a:lnTo>
                    <a:pt x="0" y="12"/>
                  </a:lnTo>
                  <a:lnTo>
                    <a:pt x="7" y="11"/>
                  </a:lnTo>
                  <a:lnTo>
                    <a:pt x="10" y="21"/>
                  </a:lnTo>
                  <a:lnTo>
                    <a:pt x="61" y="14"/>
                  </a:lnTo>
                  <a:cubicBezTo>
                    <a:pt x="63" y="12"/>
                    <a:pt x="63" y="9"/>
                    <a:pt x="62" y="1"/>
                  </a:cubicBezTo>
                  <a:lnTo>
                    <a:pt x="69" y="0"/>
                  </a:lnTo>
                  <a:lnTo>
                    <a:pt x="73" y="29"/>
                  </a:lnTo>
                  <a:lnTo>
                    <a:pt x="34" y="72"/>
                  </a:lnTo>
                  <a:lnTo>
                    <a:pt x="70" y="67"/>
                  </a:lnTo>
                  <a:lnTo>
                    <a:pt x="70" y="56"/>
                  </a:lnTo>
                  <a:lnTo>
                    <a:pt x="76" y="55"/>
                  </a:lnTo>
                  <a:lnTo>
                    <a:pt x="78" y="70"/>
                  </a:lnTo>
                  <a:lnTo>
                    <a:pt x="81" y="86"/>
                  </a:lnTo>
                  <a:lnTo>
                    <a:pt x="74" y="87"/>
                  </a:lnTo>
                  <a:lnTo>
                    <a:pt x="72" y="77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50"/>
            <p:cNvSpPr>
              <a:spLocks noEditPoints="1"/>
            </p:cNvSpPr>
            <p:nvPr/>
          </p:nvSpPr>
          <p:spPr bwMode="auto">
            <a:xfrm>
              <a:off x="-5830" y="10604"/>
              <a:ext cx="144" cy="150"/>
            </a:xfrm>
            <a:custGeom>
              <a:avLst/>
              <a:gdLst>
                <a:gd name="T0" fmla="*/ 55 w 76"/>
                <a:gd name="T1" fmla="*/ 36 h 79"/>
                <a:gd name="T2" fmla="*/ 34 w 76"/>
                <a:gd name="T3" fmla="*/ 27 h 79"/>
                <a:gd name="T4" fmla="*/ 34 w 76"/>
                <a:gd name="T5" fmla="*/ 43 h 79"/>
                <a:gd name="T6" fmla="*/ 55 w 76"/>
                <a:gd name="T7" fmla="*/ 36 h 79"/>
                <a:gd name="T8" fmla="*/ 1 w 76"/>
                <a:gd name="T9" fmla="*/ 64 h 79"/>
                <a:gd name="T10" fmla="*/ 1 w 76"/>
                <a:gd name="T11" fmla="*/ 42 h 79"/>
                <a:gd name="T12" fmla="*/ 8 w 76"/>
                <a:gd name="T13" fmla="*/ 42 h 79"/>
                <a:gd name="T14" fmla="*/ 9 w 76"/>
                <a:gd name="T15" fmla="*/ 52 h 79"/>
                <a:gd name="T16" fmla="*/ 25 w 76"/>
                <a:gd name="T17" fmla="*/ 46 h 79"/>
                <a:gd name="T18" fmla="*/ 26 w 76"/>
                <a:gd name="T19" fmla="*/ 23 h 79"/>
                <a:gd name="T20" fmla="*/ 10 w 76"/>
                <a:gd name="T21" fmla="*/ 17 h 79"/>
                <a:gd name="T22" fmla="*/ 9 w 76"/>
                <a:gd name="T23" fmla="*/ 29 h 79"/>
                <a:gd name="T24" fmla="*/ 2 w 76"/>
                <a:gd name="T25" fmla="*/ 29 h 79"/>
                <a:gd name="T26" fmla="*/ 2 w 76"/>
                <a:gd name="T27" fmla="*/ 13 h 79"/>
                <a:gd name="T28" fmla="*/ 2 w 76"/>
                <a:gd name="T29" fmla="*/ 0 h 79"/>
                <a:gd name="T30" fmla="*/ 9 w 76"/>
                <a:gd name="T31" fmla="*/ 0 h 79"/>
                <a:gd name="T32" fmla="*/ 10 w 76"/>
                <a:gd name="T33" fmla="*/ 7 h 79"/>
                <a:gd name="T34" fmla="*/ 70 w 76"/>
                <a:gd name="T35" fmla="*/ 33 h 79"/>
                <a:gd name="T36" fmla="*/ 76 w 76"/>
                <a:gd name="T37" fmla="*/ 44 h 79"/>
                <a:gd name="T38" fmla="*/ 76 w 76"/>
                <a:gd name="T39" fmla="*/ 47 h 79"/>
                <a:gd name="T40" fmla="*/ 9 w 76"/>
                <a:gd name="T41" fmla="*/ 72 h 79"/>
                <a:gd name="T42" fmla="*/ 7 w 76"/>
                <a:gd name="T43" fmla="*/ 79 h 79"/>
                <a:gd name="T44" fmla="*/ 0 w 76"/>
                <a:gd name="T45" fmla="*/ 79 h 79"/>
                <a:gd name="T46" fmla="*/ 1 w 76"/>
                <a:gd name="T47" fmla="*/ 64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6" h="79">
                  <a:moveTo>
                    <a:pt x="55" y="36"/>
                  </a:moveTo>
                  <a:lnTo>
                    <a:pt x="34" y="27"/>
                  </a:lnTo>
                  <a:lnTo>
                    <a:pt x="34" y="43"/>
                  </a:lnTo>
                  <a:lnTo>
                    <a:pt x="55" y="36"/>
                  </a:lnTo>
                  <a:close/>
                  <a:moveTo>
                    <a:pt x="1" y="64"/>
                  </a:moveTo>
                  <a:lnTo>
                    <a:pt x="1" y="42"/>
                  </a:lnTo>
                  <a:lnTo>
                    <a:pt x="8" y="42"/>
                  </a:lnTo>
                  <a:lnTo>
                    <a:pt x="9" y="52"/>
                  </a:lnTo>
                  <a:lnTo>
                    <a:pt x="25" y="46"/>
                  </a:lnTo>
                  <a:lnTo>
                    <a:pt x="26" y="23"/>
                  </a:lnTo>
                  <a:lnTo>
                    <a:pt x="10" y="17"/>
                  </a:lnTo>
                  <a:lnTo>
                    <a:pt x="9" y="29"/>
                  </a:lnTo>
                  <a:lnTo>
                    <a:pt x="2" y="29"/>
                  </a:lnTo>
                  <a:lnTo>
                    <a:pt x="2" y="13"/>
                  </a:lnTo>
                  <a:lnTo>
                    <a:pt x="2" y="0"/>
                  </a:lnTo>
                  <a:lnTo>
                    <a:pt x="9" y="0"/>
                  </a:lnTo>
                  <a:lnTo>
                    <a:pt x="10" y="7"/>
                  </a:lnTo>
                  <a:lnTo>
                    <a:pt x="70" y="33"/>
                  </a:lnTo>
                  <a:cubicBezTo>
                    <a:pt x="71" y="37"/>
                    <a:pt x="74" y="41"/>
                    <a:pt x="76" y="44"/>
                  </a:cubicBezTo>
                  <a:lnTo>
                    <a:pt x="76" y="47"/>
                  </a:lnTo>
                  <a:lnTo>
                    <a:pt x="9" y="72"/>
                  </a:lnTo>
                  <a:lnTo>
                    <a:pt x="7" y="79"/>
                  </a:lnTo>
                  <a:lnTo>
                    <a:pt x="0" y="79"/>
                  </a:lnTo>
                  <a:lnTo>
                    <a:pt x="1" y="64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51"/>
            <p:cNvSpPr>
              <a:spLocks/>
            </p:cNvSpPr>
            <p:nvPr/>
          </p:nvSpPr>
          <p:spPr bwMode="auto">
            <a:xfrm>
              <a:off x="-5342" y="9989"/>
              <a:ext cx="240" cy="312"/>
            </a:xfrm>
            <a:custGeom>
              <a:avLst/>
              <a:gdLst>
                <a:gd name="T0" fmla="*/ 147 w 240"/>
                <a:gd name="T1" fmla="*/ 49 h 312"/>
                <a:gd name="T2" fmla="*/ 147 w 240"/>
                <a:gd name="T3" fmla="*/ 312 h 312"/>
                <a:gd name="T4" fmla="*/ 90 w 240"/>
                <a:gd name="T5" fmla="*/ 312 h 312"/>
                <a:gd name="T6" fmla="*/ 90 w 240"/>
                <a:gd name="T7" fmla="*/ 49 h 312"/>
                <a:gd name="T8" fmla="*/ 0 w 240"/>
                <a:gd name="T9" fmla="*/ 49 h 312"/>
                <a:gd name="T10" fmla="*/ 0 w 240"/>
                <a:gd name="T11" fmla="*/ 0 h 312"/>
                <a:gd name="T12" fmla="*/ 240 w 240"/>
                <a:gd name="T13" fmla="*/ 0 h 312"/>
                <a:gd name="T14" fmla="*/ 240 w 240"/>
                <a:gd name="T15" fmla="*/ 49 h 312"/>
                <a:gd name="T16" fmla="*/ 147 w 240"/>
                <a:gd name="T17" fmla="*/ 49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0" h="312">
                  <a:moveTo>
                    <a:pt x="147" y="49"/>
                  </a:moveTo>
                  <a:lnTo>
                    <a:pt x="147" y="312"/>
                  </a:lnTo>
                  <a:lnTo>
                    <a:pt x="90" y="312"/>
                  </a:lnTo>
                  <a:lnTo>
                    <a:pt x="90" y="49"/>
                  </a:lnTo>
                  <a:lnTo>
                    <a:pt x="0" y="49"/>
                  </a:lnTo>
                  <a:lnTo>
                    <a:pt x="0" y="0"/>
                  </a:lnTo>
                  <a:lnTo>
                    <a:pt x="240" y="0"/>
                  </a:lnTo>
                  <a:lnTo>
                    <a:pt x="240" y="49"/>
                  </a:lnTo>
                  <a:lnTo>
                    <a:pt x="147" y="4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52"/>
            <p:cNvSpPr>
              <a:spLocks noEditPoints="1"/>
            </p:cNvSpPr>
            <p:nvPr/>
          </p:nvSpPr>
          <p:spPr bwMode="auto">
            <a:xfrm>
              <a:off x="-5110" y="10082"/>
              <a:ext cx="198" cy="224"/>
            </a:xfrm>
            <a:custGeom>
              <a:avLst/>
              <a:gdLst>
                <a:gd name="T0" fmla="*/ 55 w 105"/>
                <a:gd name="T1" fmla="*/ 22 h 119"/>
                <a:gd name="T2" fmla="*/ 42 w 105"/>
                <a:gd name="T3" fmla="*/ 26 h 119"/>
                <a:gd name="T4" fmla="*/ 33 w 105"/>
                <a:gd name="T5" fmla="*/ 44 h 119"/>
                <a:gd name="T6" fmla="*/ 78 w 105"/>
                <a:gd name="T7" fmla="*/ 44 h 119"/>
                <a:gd name="T8" fmla="*/ 55 w 105"/>
                <a:gd name="T9" fmla="*/ 22 h 119"/>
                <a:gd name="T10" fmla="*/ 32 w 105"/>
                <a:gd name="T11" fmla="*/ 63 h 119"/>
                <a:gd name="T12" fmla="*/ 61 w 105"/>
                <a:gd name="T13" fmla="*/ 94 h 119"/>
                <a:gd name="T14" fmla="*/ 101 w 105"/>
                <a:gd name="T15" fmla="*/ 77 h 119"/>
                <a:gd name="T16" fmla="*/ 103 w 105"/>
                <a:gd name="T17" fmla="*/ 107 h 119"/>
                <a:gd name="T18" fmla="*/ 55 w 105"/>
                <a:gd name="T19" fmla="*/ 119 h 119"/>
                <a:gd name="T20" fmla="*/ 0 w 105"/>
                <a:gd name="T21" fmla="*/ 60 h 119"/>
                <a:gd name="T22" fmla="*/ 55 w 105"/>
                <a:gd name="T23" fmla="*/ 0 h 119"/>
                <a:gd name="T24" fmla="*/ 105 w 105"/>
                <a:gd name="T25" fmla="*/ 63 h 119"/>
                <a:gd name="T26" fmla="*/ 32 w 105"/>
                <a:gd name="T27" fmla="*/ 63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5" h="119">
                  <a:moveTo>
                    <a:pt x="55" y="22"/>
                  </a:moveTo>
                  <a:cubicBezTo>
                    <a:pt x="51" y="22"/>
                    <a:pt x="43" y="25"/>
                    <a:pt x="42" y="26"/>
                  </a:cubicBezTo>
                  <a:cubicBezTo>
                    <a:pt x="42" y="26"/>
                    <a:pt x="34" y="34"/>
                    <a:pt x="33" y="44"/>
                  </a:cubicBezTo>
                  <a:lnTo>
                    <a:pt x="78" y="44"/>
                  </a:lnTo>
                  <a:cubicBezTo>
                    <a:pt x="77" y="31"/>
                    <a:pt x="75" y="22"/>
                    <a:pt x="55" y="22"/>
                  </a:cubicBezTo>
                  <a:close/>
                  <a:moveTo>
                    <a:pt x="32" y="63"/>
                  </a:moveTo>
                  <a:cubicBezTo>
                    <a:pt x="33" y="78"/>
                    <a:pt x="44" y="94"/>
                    <a:pt x="61" y="94"/>
                  </a:cubicBezTo>
                  <a:cubicBezTo>
                    <a:pt x="74" y="94"/>
                    <a:pt x="87" y="89"/>
                    <a:pt x="101" y="77"/>
                  </a:cubicBezTo>
                  <a:lnTo>
                    <a:pt x="103" y="107"/>
                  </a:lnTo>
                  <a:cubicBezTo>
                    <a:pt x="90" y="115"/>
                    <a:pt x="78" y="119"/>
                    <a:pt x="55" y="119"/>
                  </a:cubicBezTo>
                  <a:cubicBezTo>
                    <a:pt x="24" y="119"/>
                    <a:pt x="0" y="97"/>
                    <a:pt x="0" y="60"/>
                  </a:cubicBezTo>
                  <a:cubicBezTo>
                    <a:pt x="0" y="22"/>
                    <a:pt x="23" y="0"/>
                    <a:pt x="55" y="0"/>
                  </a:cubicBezTo>
                  <a:cubicBezTo>
                    <a:pt x="94" y="0"/>
                    <a:pt x="105" y="20"/>
                    <a:pt x="105" y="63"/>
                  </a:cubicBezTo>
                  <a:lnTo>
                    <a:pt x="32" y="63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53"/>
            <p:cNvSpPr>
              <a:spLocks/>
            </p:cNvSpPr>
            <p:nvPr/>
          </p:nvSpPr>
          <p:spPr bwMode="auto">
            <a:xfrm>
              <a:off x="-4859" y="10082"/>
              <a:ext cx="184" cy="224"/>
            </a:xfrm>
            <a:custGeom>
              <a:avLst/>
              <a:gdLst>
                <a:gd name="T0" fmla="*/ 56 w 97"/>
                <a:gd name="T1" fmla="*/ 119 h 119"/>
                <a:gd name="T2" fmla="*/ 0 w 97"/>
                <a:gd name="T3" fmla="*/ 59 h 119"/>
                <a:gd name="T4" fmla="*/ 53 w 97"/>
                <a:gd name="T5" fmla="*/ 0 h 119"/>
                <a:gd name="T6" fmla="*/ 96 w 97"/>
                <a:gd name="T7" fmla="*/ 23 h 119"/>
                <a:gd name="T8" fmla="*/ 96 w 97"/>
                <a:gd name="T9" fmla="*/ 30 h 119"/>
                <a:gd name="T10" fmla="*/ 95 w 97"/>
                <a:gd name="T11" fmla="*/ 36 h 119"/>
                <a:gd name="T12" fmla="*/ 66 w 97"/>
                <a:gd name="T13" fmla="*/ 36 h 119"/>
                <a:gd name="T14" fmla="*/ 55 w 97"/>
                <a:gd name="T15" fmla="*/ 24 h 119"/>
                <a:gd name="T16" fmla="*/ 46 w 97"/>
                <a:gd name="T17" fmla="*/ 25 h 119"/>
                <a:gd name="T18" fmla="*/ 32 w 97"/>
                <a:gd name="T19" fmla="*/ 58 h 119"/>
                <a:gd name="T20" fmla="*/ 61 w 97"/>
                <a:gd name="T21" fmla="*/ 94 h 119"/>
                <a:gd name="T22" fmla="*/ 94 w 97"/>
                <a:gd name="T23" fmla="*/ 79 h 119"/>
                <a:gd name="T24" fmla="*/ 97 w 97"/>
                <a:gd name="T25" fmla="*/ 107 h 119"/>
                <a:gd name="T26" fmla="*/ 56 w 97"/>
                <a:gd name="T27" fmla="*/ 11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7" h="119">
                  <a:moveTo>
                    <a:pt x="56" y="119"/>
                  </a:moveTo>
                  <a:cubicBezTo>
                    <a:pt x="23" y="119"/>
                    <a:pt x="0" y="97"/>
                    <a:pt x="0" y="59"/>
                  </a:cubicBezTo>
                  <a:cubicBezTo>
                    <a:pt x="0" y="18"/>
                    <a:pt x="27" y="0"/>
                    <a:pt x="53" y="0"/>
                  </a:cubicBezTo>
                  <a:cubicBezTo>
                    <a:pt x="76" y="0"/>
                    <a:pt x="96" y="5"/>
                    <a:pt x="96" y="23"/>
                  </a:cubicBezTo>
                  <a:lnTo>
                    <a:pt x="96" y="30"/>
                  </a:lnTo>
                  <a:cubicBezTo>
                    <a:pt x="96" y="32"/>
                    <a:pt x="96" y="34"/>
                    <a:pt x="95" y="36"/>
                  </a:cubicBezTo>
                  <a:lnTo>
                    <a:pt x="66" y="36"/>
                  </a:lnTo>
                  <a:cubicBezTo>
                    <a:pt x="66" y="26"/>
                    <a:pt x="63" y="24"/>
                    <a:pt x="55" y="24"/>
                  </a:cubicBezTo>
                  <a:cubicBezTo>
                    <a:pt x="50" y="24"/>
                    <a:pt x="47" y="24"/>
                    <a:pt x="46" y="25"/>
                  </a:cubicBezTo>
                  <a:cubicBezTo>
                    <a:pt x="43" y="26"/>
                    <a:pt x="32" y="32"/>
                    <a:pt x="32" y="58"/>
                  </a:cubicBezTo>
                  <a:cubicBezTo>
                    <a:pt x="32" y="87"/>
                    <a:pt x="48" y="94"/>
                    <a:pt x="61" y="94"/>
                  </a:cubicBezTo>
                  <a:cubicBezTo>
                    <a:pt x="69" y="94"/>
                    <a:pt x="78" y="93"/>
                    <a:pt x="94" y="79"/>
                  </a:cubicBezTo>
                  <a:lnTo>
                    <a:pt x="97" y="107"/>
                  </a:lnTo>
                  <a:cubicBezTo>
                    <a:pt x="81" y="116"/>
                    <a:pt x="70" y="119"/>
                    <a:pt x="56" y="11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54"/>
            <p:cNvSpPr>
              <a:spLocks/>
            </p:cNvSpPr>
            <p:nvPr/>
          </p:nvSpPr>
          <p:spPr bwMode="auto">
            <a:xfrm>
              <a:off x="-4615" y="9957"/>
              <a:ext cx="195" cy="344"/>
            </a:xfrm>
            <a:custGeom>
              <a:avLst/>
              <a:gdLst>
                <a:gd name="T0" fmla="*/ 102 w 103"/>
                <a:gd name="T1" fmla="*/ 182 h 182"/>
                <a:gd name="T2" fmla="*/ 72 w 103"/>
                <a:gd name="T3" fmla="*/ 182 h 182"/>
                <a:gd name="T4" fmla="*/ 73 w 103"/>
                <a:gd name="T5" fmla="*/ 132 h 182"/>
                <a:gd name="T6" fmla="*/ 59 w 103"/>
                <a:gd name="T7" fmla="*/ 92 h 182"/>
                <a:gd name="T8" fmla="*/ 45 w 103"/>
                <a:gd name="T9" fmla="*/ 95 h 182"/>
                <a:gd name="T10" fmla="*/ 30 w 103"/>
                <a:gd name="T11" fmla="*/ 108 h 182"/>
                <a:gd name="T12" fmla="*/ 30 w 103"/>
                <a:gd name="T13" fmla="*/ 182 h 182"/>
                <a:gd name="T14" fmla="*/ 0 w 103"/>
                <a:gd name="T15" fmla="*/ 182 h 182"/>
                <a:gd name="T16" fmla="*/ 0 w 103"/>
                <a:gd name="T17" fmla="*/ 0 h 182"/>
                <a:gd name="T18" fmla="*/ 30 w 103"/>
                <a:gd name="T19" fmla="*/ 0 h 182"/>
                <a:gd name="T20" fmla="*/ 30 w 103"/>
                <a:gd name="T21" fmla="*/ 79 h 182"/>
                <a:gd name="T22" fmla="*/ 61 w 103"/>
                <a:gd name="T23" fmla="*/ 66 h 182"/>
                <a:gd name="T24" fmla="*/ 103 w 103"/>
                <a:gd name="T25" fmla="*/ 115 h 182"/>
                <a:gd name="T26" fmla="*/ 103 w 103"/>
                <a:gd name="T27" fmla="*/ 129 h 182"/>
                <a:gd name="T28" fmla="*/ 102 w 103"/>
                <a:gd name="T29" fmla="*/ 182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3" h="182">
                  <a:moveTo>
                    <a:pt x="102" y="182"/>
                  </a:moveTo>
                  <a:lnTo>
                    <a:pt x="72" y="182"/>
                  </a:lnTo>
                  <a:cubicBezTo>
                    <a:pt x="72" y="153"/>
                    <a:pt x="73" y="147"/>
                    <a:pt x="73" y="132"/>
                  </a:cubicBezTo>
                  <a:cubicBezTo>
                    <a:pt x="73" y="100"/>
                    <a:pt x="72" y="92"/>
                    <a:pt x="59" y="92"/>
                  </a:cubicBezTo>
                  <a:cubicBezTo>
                    <a:pt x="54" y="92"/>
                    <a:pt x="47" y="93"/>
                    <a:pt x="45" y="95"/>
                  </a:cubicBezTo>
                  <a:cubicBezTo>
                    <a:pt x="43" y="96"/>
                    <a:pt x="35" y="102"/>
                    <a:pt x="30" y="108"/>
                  </a:cubicBezTo>
                  <a:lnTo>
                    <a:pt x="30" y="182"/>
                  </a:lnTo>
                  <a:lnTo>
                    <a:pt x="0" y="182"/>
                  </a:lnTo>
                  <a:lnTo>
                    <a:pt x="0" y="0"/>
                  </a:lnTo>
                  <a:lnTo>
                    <a:pt x="30" y="0"/>
                  </a:lnTo>
                  <a:lnTo>
                    <a:pt x="30" y="79"/>
                  </a:lnTo>
                  <a:cubicBezTo>
                    <a:pt x="39" y="70"/>
                    <a:pt x="49" y="66"/>
                    <a:pt x="61" y="66"/>
                  </a:cubicBezTo>
                  <a:cubicBezTo>
                    <a:pt x="100" y="66"/>
                    <a:pt x="103" y="90"/>
                    <a:pt x="103" y="115"/>
                  </a:cubicBezTo>
                  <a:cubicBezTo>
                    <a:pt x="103" y="120"/>
                    <a:pt x="103" y="124"/>
                    <a:pt x="103" y="129"/>
                  </a:cubicBezTo>
                  <a:cubicBezTo>
                    <a:pt x="103" y="145"/>
                    <a:pt x="103" y="154"/>
                    <a:pt x="102" y="18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55"/>
            <p:cNvSpPr>
              <a:spLocks/>
            </p:cNvSpPr>
            <p:nvPr/>
          </p:nvSpPr>
          <p:spPr bwMode="auto">
            <a:xfrm>
              <a:off x="-4360" y="10082"/>
              <a:ext cx="202" cy="219"/>
            </a:xfrm>
            <a:custGeom>
              <a:avLst/>
              <a:gdLst>
                <a:gd name="T0" fmla="*/ 105 w 107"/>
                <a:gd name="T1" fmla="*/ 116 h 116"/>
                <a:gd name="T2" fmla="*/ 75 w 107"/>
                <a:gd name="T3" fmla="*/ 116 h 116"/>
                <a:gd name="T4" fmla="*/ 76 w 107"/>
                <a:gd name="T5" fmla="*/ 59 h 116"/>
                <a:gd name="T6" fmla="*/ 76 w 107"/>
                <a:gd name="T7" fmla="*/ 45 h 116"/>
                <a:gd name="T8" fmla="*/ 63 w 107"/>
                <a:gd name="T9" fmla="*/ 26 h 116"/>
                <a:gd name="T10" fmla="*/ 49 w 107"/>
                <a:gd name="T11" fmla="*/ 29 h 116"/>
                <a:gd name="T12" fmla="*/ 33 w 107"/>
                <a:gd name="T13" fmla="*/ 42 h 116"/>
                <a:gd name="T14" fmla="*/ 33 w 107"/>
                <a:gd name="T15" fmla="*/ 116 h 116"/>
                <a:gd name="T16" fmla="*/ 3 w 107"/>
                <a:gd name="T17" fmla="*/ 116 h 116"/>
                <a:gd name="T18" fmla="*/ 3 w 107"/>
                <a:gd name="T19" fmla="*/ 36 h 116"/>
                <a:gd name="T20" fmla="*/ 0 w 107"/>
                <a:gd name="T21" fmla="*/ 3 h 116"/>
                <a:gd name="T22" fmla="*/ 27 w 107"/>
                <a:gd name="T23" fmla="*/ 3 h 116"/>
                <a:gd name="T24" fmla="*/ 30 w 107"/>
                <a:gd name="T25" fmla="*/ 16 h 116"/>
                <a:gd name="T26" fmla="*/ 64 w 107"/>
                <a:gd name="T27" fmla="*/ 0 h 116"/>
                <a:gd name="T28" fmla="*/ 107 w 107"/>
                <a:gd name="T29" fmla="*/ 49 h 116"/>
                <a:gd name="T30" fmla="*/ 107 w 107"/>
                <a:gd name="T31" fmla="*/ 63 h 116"/>
                <a:gd name="T32" fmla="*/ 105 w 107"/>
                <a:gd name="T33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7" h="116">
                  <a:moveTo>
                    <a:pt x="105" y="116"/>
                  </a:moveTo>
                  <a:lnTo>
                    <a:pt x="75" y="116"/>
                  </a:lnTo>
                  <a:cubicBezTo>
                    <a:pt x="76" y="83"/>
                    <a:pt x="76" y="80"/>
                    <a:pt x="76" y="59"/>
                  </a:cubicBezTo>
                  <a:cubicBezTo>
                    <a:pt x="76" y="54"/>
                    <a:pt x="76" y="49"/>
                    <a:pt x="76" y="45"/>
                  </a:cubicBezTo>
                  <a:cubicBezTo>
                    <a:pt x="75" y="30"/>
                    <a:pt x="72" y="26"/>
                    <a:pt x="63" y="26"/>
                  </a:cubicBezTo>
                  <a:cubicBezTo>
                    <a:pt x="58" y="26"/>
                    <a:pt x="50" y="27"/>
                    <a:pt x="49" y="29"/>
                  </a:cubicBezTo>
                  <a:cubicBezTo>
                    <a:pt x="47" y="30"/>
                    <a:pt x="38" y="36"/>
                    <a:pt x="33" y="42"/>
                  </a:cubicBezTo>
                  <a:lnTo>
                    <a:pt x="33" y="116"/>
                  </a:lnTo>
                  <a:lnTo>
                    <a:pt x="3" y="116"/>
                  </a:lnTo>
                  <a:lnTo>
                    <a:pt x="3" y="36"/>
                  </a:lnTo>
                  <a:cubicBezTo>
                    <a:pt x="3" y="26"/>
                    <a:pt x="2" y="9"/>
                    <a:pt x="0" y="3"/>
                  </a:cubicBezTo>
                  <a:lnTo>
                    <a:pt x="27" y="3"/>
                  </a:lnTo>
                  <a:lnTo>
                    <a:pt x="30" y="16"/>
                  </a:lnTo>
                  <a:cubicBezTo>
                    <a:pt x="40" y="5"/>
                    <a:pt x="52" y="0"/>
                    <a:pt x="64" y="0"/>
                  </a:cubicBezTo>
                  <a:cubicBezTo>
                    <a:pt x="103" y="0"/>
                    <a:pt x="107" y="24"/>
                    <a:pt x="107" y="49"/>
                  </a:cubicBezTo>
                  <a:lnTo>
                    <a:pt x="107" y="63"/>
                  </a:lnTo>
                  <a:cubicBezTo>
                    <a:pt x="107" y="79"/>
                    <a:pt x="106" y="88"/>
                    <a:pt x="105" y="11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56"/>
            <p:cNvSpPr>
              <a:spLocks noEditPoints="1"/>
            </p:cNvSpPr>
            <p:nvPr/>
          </p:nvSpPr>
          <p:spPr bwMode="auto">
            <a:xfrm>
              <a:off x="-4099" y="9978"/>
              <a:ext cx="66" cy="323"/>
            </a:xfrm>
            <a:custGeom>
              <a:avLst/>
              <a:gdLst>
                <a:gd name="T0" fmla="*/ 3 w 35"/>
                <a:gd name="T1" fmla="*/ 171 h 171"/>
                <a:gd name="T2" fmla="*/ 3 w 35"/>
                <a:gd name="T3" fmla="*/ 58 h 171"/>
                <a:gd name="T4" fmla="*/ 33 w 35"/>
                <a:gd name="T5" fmla="*/ 58 h 171"/>
                <a:gd name="T6" fmla="*/ 33 w 35"/>
                <a:gd name="T7" fmla="*/ 171 h 171"/>
                <a:gd name="T8" fmla="*/ 3 w 35"/>
                <a:gd name="T9" fmla="*/ 171 h 171"/>
                <a:gd name="T10" fmla="*/ 18 w 35"/>
                <a:gd name="T11" fmla="*/ 36 h 171"/>
                <a:gd name="T12" fmla="*/ 0 w 35"/>
                <a:gd name="T13" fmla="*/ 18 h 171"/>
                <a:gd name="T14" fmla="*/ 18 w 35"/>
                <a:gd name="T15" fmla="*/ 0 h 171"/>
                <a:gd name="T16" fmla="*/ 35 w 35"/>
                <a:gd name="T17" fmla="*/ 18 h 171"/>
                <a:gd name="T18" fmla="*/ 18 w 35"/>
                <a:gd name="T19" fmla="*/ 36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" h="171">
                  <a:moveTo>
                    <a:pt x="3" y="171"/>
                  </a:moveTo>
                  <a:lnTo>
                    <a:pt x="3" y="58"/>
                  </a:lnTo>
                  <a:lnTo>
                    <a:pt x="33" y="58"/>
                  </a:lnTo>
                  <a:lnTo>
                    <a:pt x="33" y="171"/>
                  </a:lnTo>
                  <a:lnTo>
                    <a:pt x="3" y="171"/>
                  </a:lnTo>
                  <a:close/>
                  <a:moveTo>
                    <a:pt x="18" y="36"/>
                  </a:moveTo>
                  <a:cubicBezTo>
                    <a:pt x="8" y="36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5" y="8"/>
                    <a:pt x="35" y="18"/>
                  </a:cubicBezTo>
                  <a:cubicBezTo>
                    <a:pt x="35" y="28"/>
                    <a:pt x="28" y="36"/>
                    <a:pt x="18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57"/>
            <p:cNvSpPr>
              <a:spLocks/>
            </p:cNvSpPr>
            <p:nvPr/>
          </p:nvSpPr>
          <p:spPr bwMode="auto">
            <a:xfrm>
              <a:off x="-3986" y="10082"/>
              <a:ext cx="170" cy="224"/>
            </a:xfrm>
            <a:custGeom>
              <a:avLst/>
              <a:gdLst>
                <a:gd name="T0" fmla="*/ 42 w 90"/>
                <a:gd name="T1" fmla="*/ 119 h 119"/>
                <a:gd name="T2" fmla="*/ 1 w 90"/>
                <a:gd name="T3" fmla="*/ 108 h 119"/>
                <a:gd name="T4" fmla="*/ 4 w 90"/>
                <a:gd name="T5" fmla="*/ 83 h 119"/>
                <a:gd name="T6" fmla="*/ 41 w 90"/>
                <a:gd name="T7" fmla="*/ 95 h 119"/>
                <a:gd name="T8" fmla="*/ 59 w 90"/>
                <a:gd name="T9" fmla="*/ 86 h 119"/>
                <a:gd name="T10" fmla="*/ 0 w 90"/>
                <a:gd name="T11" fmla="*/ 33 h 119"/>
                <a:gd name="T12" fmla="*/ 47 w 90"/>
                <a:gd name="T13" fmla="*/ 0 h 119"/>
                <a:gd name="T14" fmla="*/ 86 w 90"/>
                <a:gd name="T15" fmla="*/ 10 h 119"/>
                <a:gd name="T16" fmla="*/ 83 w 90"/>
                <a:gd name="T17" fmla="*/ 36 h 119"/>
                <a:gd name="T18" fmla="*/ 46 w 90"/>
                <a:gd name="T19" fmla="*/ 24 h 119"/>
                <a:gd name="T20" fmla="*/ 31 w 90"/>
                <a:gd name="T21" fmla="*/ 32 h 119"/>
                <a:gd name="T22" fmla="*/ 90 w 90"/>
                <a:gd name="T23" fmla="*/ 84 h 119"/>
                <a:gd name="T24" fmla="*/ 42 w 90"/>
                <a:gd name="T25" fmla="*/ 11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0" h="119">
                  <a:moveTo>
                    <a:pt x="42" y="119"/>
                  </a:moveTo>
                  <a:cubicBezTo>
                    <a:pt x="28" y="119"/>
                    <a:pt x="13" y="116"/>
                    <a:pt x="1" y="108"/>
                  </a:cubicBezTo>
                  <a:lnTo>
                    <a:pt x="4" y="83"/>
                  </a:lnTo>
                  <a:cubicBezTo>
                    <a:pt x="17" y="91"/>
                    <a:pt x="25" y="95"/>
                    <a:pt x="41" y="95"/>
                  </a:cubicBezTo>
                  <a:cubicBezTo>
                    <a:pt x="56" y="95"/>
                    <a:pt x="59" y="90"/>
                    <a:pt x="59" y="86"/>
                  </a:cubicBezTo>
                  <a:cubicBezTo>
                    <a:pt x="59" y="68"/>
                    <a:pt x="0" y="73"/>
                    <a:pt x="0" y="33"/>
                  </a:cubicBezTo>
                  <a:cubicBezTo>
                    <a:pt x="0" y="12"/>
                    <a:pt x="18" y="0"/>
                    <a:pt x="47" y="0"/>
                  </a:cubicBezTo>
                  <a:cubicBezTo>
                    <a:pt x="62" y="0"/>
                    <a:pt x="71" y="3"/>
                    <a:pt x="86" y="10"/>
                  </a:cubicBezTo>
                  <a:lnTo>
                    <a:pt x="83" y="36"/>
                  </a:lnTo>
                  <a:cubicBezTo>
                    <a:pt x="68" y="25"/>
                    <a:pt x="54" y="24"/>
                    <a:pt x="46" y="24"/>
                  </a:cubicBezTo>
                  <a:cubicBezTo>
                    <a:pt x="41" y="24"/>
                    <a:pt x="31" y="25"/>
                    <a:pt x="31" y="32"/>
                  </a:cubicBezTo>
                  <a:cubicBezTo>
                    <a:pt x="31" y="49"/>
                    <a:pt x="90" y="46"/>
                    <a:pt x="90" y="84"/>
                  </a:cubicBezTo>
                  <a:cubicBezTo>
                    <a:pt x="90" y="103"/>
                    <a:pt x="74" y="119"/>
                    <a:pt x="42" y="11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58"/>
            <p:cNvSpPr>
              <a:spLocks/>
            </p:cNvSpPr>
            <p:nvPr/>
          </p:nvSpPr>
          <p:spPr bwMode="auto">
            <a:xfrm>
              <a:off x="-3771" y="10082"/>
              <a:ext cx="184" cy="224"/>
            </a:xfrm>
            <a:custGeom>
              <a:avLst/>
              <a:gdLst>
                <a:gd name="T0" fmla="*/ 56 w 97"/>
                <a:gd name="T1" fmla="*/ 119 h 119"/>
                <a:gd name="T2" fmla="*/ 0 w 97"/>
                <a:gd name="T3" fmla="*/ 59 h 119"/>
                <a:gd name="T4" fmla="*/ 53 w 97"/>
                <a:gd name="T5" fmla="*/ 0 h 119"/>
                <a:gd name="T6" fmla="*/ 96 w 97"/>
                <a:gd name="T7" fmla="*/ 23 h 119"/>
                <a:gd name="T8" fmla="*/ 96 w 97"/>
                <a:gd name="T9" fmla="*/ 30 h 119"/>
                <a:gd name="T10" fmla="*/ 96 w 97"/>
                <a:gd name="T11" fmla="*/ 36 h 119"/>
                <a:gd name="T12" fmla="*/ 66 w 97"/>
                <a:gd name="T13" fmla="*/ 36 h 119"/>
                <a:gd name="T14" fmla="*/ 55 w 97"/>
                <a:gd name="T15" fmla="*/ 24 h 119"/>
                <a:gd name="T16" fmla="*/ 46 w 97"/>
                <a:gd name="T17" fmla="*/ 25 h 119"/>
                <a:gd name="T18" fmla="*/ 32 w 97"/>
                <a:gd name="T19" fmla="*/ 58 h 119"/>
                <a:gd name="T20" fmla="*/ 61 w 97"/>
                <a:gd name="T21" fmla="*/ 94 h 119"/>
                <a:gd name="T22" fmla="*/ 94 w 97"/>
                <a:gd name="T23" fmla="*/ 79 h 119"/>
                <a:gd name="T24" fmla="*/ 97 w 97"/>
                <a:gd name="T25" fmla="*/ 107 h 119"/>
                <a:gd name="T26" fmla="*/ 56 w 97"/>
                <a:gd name="T27" fmla="*/ 11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7" h="119">
                  <a:moveTo>
                    <a:pt x="56" y="119"/>
                  </a:moveTo>
                  <a:cubicBezTo>
                    <a:pt x="23" y="119"/>
                    <a:pt x="0" y="97"/>
                    <a:pt x="0" y="59"/>
                  </a:cubicBezTo>
                  <a:cubicBezTo>
                    <a:pt x="0" y="18"/>
                    <a:pt x="27" y="0"/>
                    <a:pt x="53" y="0"/>
                  </a:cubicBezTo>
                  <a:cubicBezTo>
                    <a:pt x="76" y="0"/>
                    <a:pt x="96" y="5"/>
                    <a:pt x="96" y="23"/>
                  </a:cubicBezTo>
                  <a:lnTo>
                    <a:pt x="96" y="30"/>
                  </a:lnTo>
                  <a:cubicBezTo>
                    <a:pt x="96" y="32"/>
                    <a:pt x="96" y="34"/>
                    <a:pt x="96" y="36"/>
                  </a:cubicBezTo>
                  <a:lnTo>
                    <a:pt x="66" y="36"/>
                  </a:lnTo>
                  <a:cubicBezTo>
                    <a:pt x="66" y="26"/>
                    <a:pt x="63" y="24"/>
                    <a:pt x="55" y="24"/>
                  </a:cubicBezTo>
                  <a:cubicBezTo>
                    <a:pt x="50" y="24"/>
                    <a:pt x="48" y="24"/>
                    <a:pt x="46" y="25"/>
                  </a:cubicBezTo>
                  <a:cubicBezTo>
                    <a:pt x="43" y="26"/>
                    <a:pt x="32" y="32"/>
                    <a:pt x="32" y="58"/>
                  </a:cubicBezTo>
                  <a:cubicBezTo>
                    <a:pt x="32" y="87"/>
                    <a:pt x="49" y="94"/>
                    <a:pt x="61" y="94"/>
                  </a:cubicBezTo>
                  <a:cubicBezTo>
                    <a:pt x="69" y="94"/>
                    <a:pt x="78" y="93"/>
                    <a:pt x="94" y="79"/>
                  </a:cubicBezTo>
                  <a:lnTo>
                    <a:pt x="97" y="107"/>
                  </a:lnTo>
                  <a:cubicBezTo>
                    <a:pt x="81" y="116"/>
                    <a:pt x="70" y="119"/>
                    <a:pt x="56" y="11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59"/>
            <p:cNvSpPr>
              <a:spLocks/>
            </p:cNvSpPr>
            <p:nvPr/>
          </p:nvSpPr>
          <p:spPr bwMode="auto">
            <a:xfrm>
              <a:off x="-3536" y="9957"/>
              <a:ext cx="194" cy="344"/>
            </a:xfrm>
            <a:custGeom>
              <a:avLst/>
              <a:gdLst>
                <a:gd name="T0" fmla="*/ 102 w 103"/>
                <a:gd name="T1" fmla="*/ 182 h 182"/>
                <a:gd name="T2" fmla="*/ 72 w 103"/>
                <a:gd name="T3" fmla="*/ 182 h 182"/>
                <a:gd name="T4" fmla="*/ 73 w 103"/>
                <a:gd name="T5" fmla="*/ 132 h 182"/>
                <a:gd name="T6" fmla="*/ 59 w 103"/>
                <a:gd name="T7" fmla="*/ 92 h 182"/>
                <a:gd name="T8" fmla="*/ 45 w 103"/>
                <a:gd name="T9" fmla="*/ 95 h 182"/>
                <a:gd name="T10" fmla="*/ 30 w 103"/>
                <a:gd name="T11" fmla="*/ 108 h 182"/>
                <a:gd name="T12" fmla="*/ 30 w 103"/>
                <a:gd name="T13" fmla="*/ 182 h 182"/>
                <a:gd name="T14" fmla="*/ 0 w 103"/>
                <a:gd name="T15" fmla="*/ 182 h 182"/>
                <a:gd name="T16" fmla="*/ 0 w 103"/>
                <a:gd name="T17" fmla="*/ 0 h 182"/>
                <a:gd name="T18" fmla="*/ 30 w 103"/>
                <a:gd name="T19" fmla="*/ 0 h 182"/>
                <a:gd name="T20" fmla="*/ 30 w 103"/>
                <a:gd name="T21" fmla="*/ 79 h 182"/>
                <a:gd name="T22" fmla="*/ 61 w 103"/>
                <a:gd name="T23" fmla="*/ 66 h 182"/>
                <a:gd name="T24" fmla="*/ 103 w 103"/>
                <a:gd name="T25" fmla="*/ 115 h 182"/>
                <a:gd name="T26" fmla="*/ 103 w 103"/>
                <a:gd name="T27" fmla="*/ 129 h 182"/>
                <a:gd name="T28" fmla="*/ 102 w 103"/>
                <a:gd name="T29" fmla="*/ 182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3" h="182">
                  <a:moveTo>
                    <a:pt x="102" y="182"/>
                  </a:moveTo>
                  <a:lnTo>
                    <a:pt x="72" y="182"/>
                  </a:lnTo>
                  <a:cubicBezTo>
                    <a:pt x="72" y="153"/>
                    <a:pt x="73" y="147"/>
                    <a:pt x="73" y="132"/>
                  </a:cubicBezTo>
                  <a:cubicBezTo>
                    <a:pt x="73" y="100"/>
                    <a:pt x="72" y="92"/>
                    <a:pt x="59" y="92"/>
                  </a:cubicBezTo>
                  <a:cubicBezTo>
                    <a:pt x="55" y="92"/>
                    <a:pt x="47" y="93"/>
                    <a:pt x="45" y="95"/>
                  </a:cubicBezTo>
                  <a:cubicBezTo>
                    <a:pt x="44" y="96"/>
                    <a:pt x="35" y="102"/>
                    <a:pt x="30" y="108"/>
                  </a:cubicBezTo>
                  <a:lnTo>
                    <a:pt x="30" y="182"/>
                  </a:lnTo>
                  <a:lnTo>
                    <a:pt x="0" y="182"/>
                  </a:lnTo>
                  <a:lnTo>
                    <a:pt x="0" y="0"/>
                  </a:lnTo>
                  <a:lnTo>
                    <a:pt x="30" y="0"/>
                  </a:lnTo>
                  <a:lnTo>
                    <a:pt x="30" y="79"/>
                  </a:lnTo>
                  <a:cubicBezTo>
                    <a:pt x="39" y="70"/>
                    <a:pt x="49" y="66"/>
                    <a:pt x="61" y="66"/>
                  </a:cubicBezTo>
                  <a:cubicBezTo>
                    <a:pt x="100" y="66"/>
                    <a:pt x="103" y="90"/>
                    <a:pt x="103" y="115"/>
                  </a:cubicBezTo>
                  <a:cubicBezTo>
                    <a:pt x="103" y="120"/>
                    <a:pt x="103" y="124"/>
                    <a:pt x="103" y="129"/>
                  </a:cubicBezTo>
                  <a:cubicBezTo>
                    <a:pt x="103" y="145"/>
                    <a:pt x="103" y="154"/>
                    <a:pt x="102" y="18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60"/>
            <p:cNvSpPr>
              <a:spLocks noEditPoints="1"/>
            </p:cNvSpPr>
            <p:nvPr/>
          </p:nvSpPr>
          <p:spPr bwMode="auto">
            <a:xfrm>
              <a:off x="-3293" y="10082"/>
              <a:ext cx="199" cy="224"/>
            </a:xfrm>
            <a:custGeom>
              <a:avLst/>
              <a:gdLst>
                <a:gd name="T0" fmla="*/ 55 w 105"/>
                <a:gd name="T1" fmla="*/ 22 h 119"/>
                <a:gd name="T2" fmla="*/ 43 w 105"/>
                <a:gd name="T3" fmla="*/ 26 h 119"/>
                <a:gd name="T4" fmla="*/ 33 w 105"/>
                <a:gd name="T5" fmla="*/ 44 h 119"/>
                <a:gd name="T6" fmla="*/ 78 w 105"/>
                <a:gd name="T7" fmla="*/ 44 h 119"/>
                <a:gd name="T8" fmla="*/ 55 w 105"/>
                <a:gd name="T9" fmla="*/ 22 h 119"/>
                <a:gd name="T10" fmla="*/ 32 w 105"/>
                <a:gd name="T11" fmla="*/ 63 h 119"/>
                <a:gd name="T12" fmla="*/ 62 w 105"/>
                <a:gd name="T13" fmla="*/ 94 h 119"/>
                <a:gd name="T14" fmla="*/ 101 w 105"/>
                <a:gd name="T15" fmla="*/ 77 h 119"/>
                <a:gd name="T16" fmla="*/ 104 w 105"/>
                <a:gd name="T17" fmla="*/ 107 h 119"/>
                <a:gd name="T18" fmla="*/ 56 w 105"/>
                <a:gd name="T19" fmla="*/ 119 h 119"/>
                <a:gd name="T20" fmla="*/ 0 w 105"/>
                <a:gd name="T21" fmla="*/ 60 h 119"/>
                <a:gd name="T22" fmla="*/ 55 w 105"/>
                <a:gd name="T23" fmla="*/ 0 h 119"/>
                <a:gd name="T24" fmla="*/ 105 w 105"/>
                <a:gd name="T25" fmla="*/ 63 h 119"/>
                <a:gd name="T26" fmla="*/ 32 w 105"/>
                <a:gd name="T27" fmla="*/ 63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5" h="119">
                  <a:moveTo>
                    <a:pt x="55" y="22"/>
                  </a:moveTo>
                  <a:cubicBezTo>
                    <a:pt x="52" y="22"/>
                    <a:pt x="44" y="25"/>
                    <a:pt x="43" y="26"/>
                  </a:cubicBezTo>
                  <a:cubicBezTo>
                    <a:pt x="42" y="26"/>
                    <a:pt x="35" y="34"/>
                    <a:pt x="33" y="44"/>
                  </a:cubicBezTo>
                  <a:lnTo>
                    <a:pt x="78" y="44"/>
                  </a:lnTo>
                  <a:cubicBezTo>
                    <a:pt x="77" y="31"/>
                    <a:pt x="75" y="22"/>
                    <a:pt x="55" y="22"/>
                  </a:cubicBezTo>
                  <a:close/>
                  <a:moveTo>
                    <a:pt x="32" y="63"/>
                  </a:moveTo>
                  <a:cubicBezTo>
                    <a:pt x="33" y="78"/>
                    <a:pt x="44" y="94"/>
                    <a:pt x="62" y="94"/>
                  </a:cubicBezTo>
                  <a:cubicBezTo>
                    <a:pt x="74" y="94"/>
                    <a:pt x="87" y="89"/>
                    <a:pt x="101" y="77"/>
                  </a:cubicBezTo>
                  <a:lnTo>
                    <a:pt x="104" y="107"/>
                  </a:lnTo>
                  <a:cubicBezTo>
                    <a:pt x="90" y="115"/>
                    <a:pt x="78" y="119"/>
                    <a:pt x="56" y="119"/>
                  </a:cubicBezTo>
                  <a:cubicBezTo>
                    <a:pt x="24" y="119"/>
                    <a:pt x="0" y="97"/>
                    <a:pt x="0" y="60"/>
                  </a:cubicBezTo>
                  <a:cubicBezTo>
                    <a:pt x="0" y="22"/>
                    <a:pt x="23" y="0"/>
                    <a:pt x="55" y="0"/>
                  </a:cubicBezTo>
                  <a:cubicBezTo>
                    <a:pt x="94" y="0"/>
                    <a:pt x="105" y="20"/>
                    <a:pt x="105" y="63"/>
                  </a:cubicBezTo>
                  <a:lnTo>
                    <a:pt x="32" y="63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61"/>
            <p:cNvSpPr>
              <a:spLocks/>
            </p:cNvSpPr>
            <p:nvPr/>
          </p:nvSpPr>
          <p:spPr bwMode="auto">
            <a:xfrm>
              <a:off x="-5312" y="10493"/>
              <a:ext cx="255" cy="317"/>
            </a:xfrm>
            <a:custGeom>
              <a:avLst/>
              <a:gdLst>
                <a:gd name="T0" fmla="*/ 135 w 135"/>
                <a:gd name="T1" fmla="*/ 106 h 168"/>
                <a:gd name="T2" fmla="*/ 65 w 135"/>
                <a:gd name="T3" fmla="*/ 168 h 168"/>
                <a:gd name="T4" fmla="*/ 0 w 135"/>
                <a:gd name="T5" fmla="*/ 112 h 168"/>
                <a:gd name="T6" fmla="*/ 0 w 135"/>
                <a:gd name="T7" fmla="*/ 0 h 168"/>
                <a:gd name="T8" fmla="*/ 30 w 135"/>
                <a:gd name="T9" fmla="*/ 0 h 168"/>
                <a:gd name="T10" fmla="*/ 30 w 135"/>
                <a:gd name="T11" fmla="*/ 105 h 168"/>
                <a:gd name="T12" fmla="*/ 66 w 135"/>
                <a:gd name="T13" fmla="*/ 142 h 168"/>
                <a:gd name="T14" fmla="*/ 105 w 135"/>
                <a:gd name="T15" fmla="*/ 105 h 168"/>
                <a:gd name="T16" fmla="*/ 105 w 135"/>
                <a:gd name="T17" fmla="*/ 0 h 168"/>
                <a:gd name="T18" fmla="*/ 135 w 135"/>
                <a:gd name="T19" fmla="*/ 0 h 168"/>
                <a:gd name="T20" fmla="*/ 135 w 135"/>
                <a:gd name="T21" fmla="*/ 106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5" h="168">
                  <a:moveTo>
                    <a:pt x="135" y="106"/>
                  </a:moveTo>
                  <a:cubicBezTo>
                    <a:pt x="135" y="149"/>
                    <a:pt x="106" y="168"/>
                    <a:pt x="65" y="168"/>
                  </a:cubicBezTo>
                  <a:cubicBezTo>
                    <a:pt x="31" y="168"/>
                    <a:pt x="0" y="148"/>
                    <a:pt x="0" y="112"/>
                  </a:cubicBezTo>
                  <a:lnTo>
                    <a:pt x="0" y="0"/>
                  </a:lnTo>
                  <a:lnTo>
                    <a:pt x="30" y="0"/>
                  </a:lnTo>
                  <a:lnTo>
                    <a:pt x="30" y="105"/>
                  </a:lnTo>
                  <a:cubicBezTo>
                    <a:pt x="30" y="135"/>
                    <a:pt x="50" y="142"/>
                    <a:pt x="66" y="142"/>
                  </a:cubicBezTo>
                  <a:cubicBezTo>
                    <a:pt x="85" y="142"/>
                    <a:pt x="105" y="134"/>
                    <a:pt x="105" y="105"/>
                  </a:cubicBezTo>
                  <a:lnTo>
                    <a:pt x="105" y="0"/>
                  </a:lnTo>
                  <a:lnTo>
                    <a:pt x="135" y="0"/>
                  </a:lnTo>
                  <a:lnTo>
                    <a:pt x="135" y="10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62"/>
            <p:cNvSpPr>
              <a:spLocks/>
            </p:cNvSpPr>
            <p:nvPr/>
          </p:nvSpPr>
          <p:spPr bwMode="auto">
            <a:xfrm>
              <a:off x="-5002" y="10586"/>
              <a:ext cx="202" cy="218"/>
            </a:xfrm>
            <a:custGeom>
              <a:avLst/>
              <a:gdLst>
                <a:gd name="T0" fmla="*/ 106 w 107"/>
                <a:gd name="T1" fmla="*/ 116 h 116"/>
                <a:gd name="T2" fmla="*/ 75 w 107"/>
                <a:gd name="T3" fmla="*/ 116 h 116"/>
                <a:gd name="T4" fmla="*/ 76 w 107"/>
                <a:gd name="T5" fmla="*/ 58 h 116"/>
                <a:gd name="T6" fmla="*/ 76 w 107"/>
                <a:gd name="T7" fmla="*/ 44 h 116"/>
                <a:gd name="T8" fmla="*/ 63 w 107"/>
                <a:gd name="T9" fmla="*/ 26 h 116"/>
                <a:gd name="T10" fmla="*/ 49 w 107"/>
                <a:gd name="T11" fmla="*/ 28 h 116"/>
                <a:gd name="T12" fmla="*/ 34 w 107"/>
                <a:gd name="T13" fmla="*/ 42 h 116"/>
                <a:gd name="T14" fmla="*/ 34 w 107"/>
                <a:gd name="T15" fmla="*/ 116 h 116"/>
                <a:gd name="T16" fmla="*/ 3 w 107"/>
                <a:gd name="T17" fmla="*/ 116 h 116"/>
                <a:gd name="T18" fmla="*/ 3 w 107"/>
                <a:gd name="T19" fmla="*/ 36 h 116"/>
                <a:gd name="T20" fmla="*/ 0 w 107"/>
                <a:gd name="T21" fmla="*/ 3 h 116"/>
                <a:gd name="T22" fmla="*/ 27 w 107"/>
                <a:gd name="T23" fmla="*/ 3 h 116"/>
                <a:gd name="T24" fmla="*/ 31 w 107"/>
                <a:gd name="T25" fmla="*/ 16 h 116"/>
                <a:gd name="T26" fmla="*/ 65 w 107"/>
                <a:gd name="T27" fmla="*/ 0 h 116"/>
                <a:gd name="T28" fmla="*/ 107 w 107"/>
                <a:gd name="T29" fmla="*/ 49 h 116"/>
                <a:gd name="T30" fmla="*/ 107 w 107"/>
                <a:gd name="T31" fmla="*/ 63 h 116"/>
                <a:gd name="T32" fmla="*/ 106 w 107"/>
                <a:gd name="T33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7" h="116">
                  <a:moveTo>
                    <a:pt x="106" y="116"/>
                  </a:moveTo>
                  <a:lnTo>
                    <a:pt x="75" y="116"/>
                  </a:lnTo>
                  <a:cubicBezTo>
                    <a:pt x="76" y="83"/>
                    <a:pt x="76" y="80"/>
                    <a:pt x="76" y="58"/>
                  </a:cubicBezTo>
                  <a:cubicBezTo>
                    <a:pt x="76" y="54"/>
                    <a:pt x="76" y="49"/>
                    <a:pt x="76" y="44"/>
                  </a:cubicBezTo>
                  <a:cubicBezTo>
                    <a:pt x="75" y="30"/>
                    <a:pt x="72" y="26"/>
                    <a:pt x="63" y="26"/>
                  </a:cubicBezTo>
                  <a:cubicBezTo>
                    <a:pt x="58" y="26"/>
                    <a:pt x="50" y="27"/>
                    <a:pt x="49" y="28"/>
                  </a:cubicBezTo>
                  <a:cubicBezTo>
                    <a:pt x="47" y="30"/>
                    <a:pt x="39" y="36"/>
                    <a:pt x="34" y="42"/>
                  </a:cubicBezTo>
                  <a:lnTo>
                    <a:pt x="34" y="116"/>
                  </a:lnTo>
                  <a:lnTo>
                    <a:pt x="3" y="116"/>
                  </a:lnTo>
                  <a:lnTo>
                    <a:pt x="3" y="36"/>
                  </a:lnTo>
                  <a:cubicBezTo>
                    <a:pt x="3" y="26"/>
                    <a:pt x="2" y="9"/>
                    <a:pt x="0" y="3"/>
                  </a:cubicBezTo>
                  <a:lnTo>
                    <a:pt x="27" y="3"/>
                  </a:lnTo>
                  <a:lnTo>
                    <a:pt x="31" y="16"/>
                  </a:lnTo>
                  <a:cubicBezTo>
                    <a:pt x="40" y="5"/>
                    <a:pt x="52" y="0"/>
                    <a:pt x="65" y="0"/>
                  </a:cubicBezTo>
                  <a:cubicBezTo>
                    <a:pt x="103" y="0"/>
                    <a:pt x="107" y="24"/>
                    <a:pt x="107" y="49"/>
                  </a:cubicBezTo>
                  <a:lnTo>
                    <a:pt x="107" y="63"/>
                  </a:lnTo>
                  <a:cubicBezTo>
                    <a:pt x="107" y="79"/>
                    <a:pt x="106" y="87"/>
                    <a:pt x="106" y="11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63"/>
            <p:cNvSpPr>
              <a:spLocks noEditPoints="1"/>
            </p:cNvSpPr>
            <p:nvPr/>
          </p:nvSpPr>
          <p:spPr bwMode="auto">
            <a:xfrm>
              <a:off x="-4738" y="10482"/>
              <a:ext cx="66" cy="322"/>
            </a:xfrm>
            <a:custGeom>
              <a:avLst/>
              <a:gdLst>
                <a:gd name="T0" fmla="*/ 3 w 35"/>
                <a:gd name="T1" fmla="*/ 171 h 171"/>
                <a:gd name="T2" fmla="*/ 3 w 35"/>
                <a:gd name="T3" fmla="*/ 58 h 171"/>
                <a:gd name="T4" fmla="*/ 33 w 35"/>
                <a:gd name="T5" fmla="*/ 58 h 171"/>
                <a:gd name="T6" fmla="*/ 33 w 35"/>
                <a:gd name="T7" fmla="*/ 171 h 171"/>
                <a:gd name="T8" fmla="*/ 3 w 35"/>
                <a:gd name="T9" fmla="*/ 171 h 171"/>
                <a:gd name="T10" fmla="*/ 18 w 35"/>
                <a:gd name="T11" fmla="*/ 36 h 171"/>
                <a:gd name="T12" fmla="*/ 0 w 35"/>
                <a:gd name="T13" fmla="*/ 18 h 171"/>
                <a:gd name="T14" fmla="*/ 18 w 35"/>
                <a:gd name="T15" fmla="*/ 0 h 171"/>
                <a:gd name="T16" fmla="*/ 35 w 35"/>
                <a:gd name="T17" fmla="*/ 18 h 171"/>
                <a:gd name="T18" fmla="*/ 18 w 35"/>
                <a:gd name="T19" fmla="*/ 36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" h="171">
                  <a:moveTo>
                    <a:pt x="3" y="171"/>
                  </a:moveTo>
                  <a:lnTo>
                    <a:pt x="3" y="58"/>
                  </a:lnTo>
                  <a:lnTo>
                    <a:pt x="33" y="58"/>
                  </a:lnTo>
                  <a:lnTo>
                    <a:pt x="33" y="171"/>
                  </a:lnTo>
                  <a:lnTo>
                    <a:pt x="3" y="171"/>
                  </a:lnTo>
                  <a:close/>
                  <a:moveTo>
                    <a:pt x="18" y="36"/>
                  </a:moveTo>
                  <a:cubicBezTo>
                    <a:pt x="8" y="36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7" y="0"/>
                    <a:pt x="35" y="8"/>
                    <a:pt x="35" y="18"/>
                  </a:cubicBezTo>
                  <a:cubicBezTo>
                    <a:pt x="35" y="28"/>
                    <a:pt x="27" y="36"/>
                    <a:pt x="18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64"/>
            <p:cNvSpPr>
              <a:spLocks/>
            </p:cNvSpPr>
            <p:nvPr/>
          </p:nvSpPr>
          <p:spPr bwMode="auto">
            <a:xfrm>
              <a:off x="-4632" y="10591"/>
              <a:ext cx="202" cy="219"/>
            </a:xfrm>
            <a:custGeom>
              <a:avLst/>
              <a:gdLst>
                <a:gd name="T0" fmla="*/ 123 w 202"/>
                <a:gd name="T1" fmla="*/ 219 h 219"/>
                <a:gd name="T2" fmla="*/ 81 w 202"/>
                <a:gd name="T3" fmla="*/ 219 h 219"/>
                <a:gd name="T4" fmla="*/ 0 w 202"/>
                <a:gd name="T5" fmla="*/ 0 h 219"/>
                <a:gd name="T6" fmla="*/ 62 w 202"/>
                <a:gd name="T7" fmla="*/ 0 h 219"/>
                <a:gd name="T8" fmla="*/ 104 w 202"/>
                <a:gd name="T9" fmla="*/ 130 h 219"/>
                <a:gd name="T10" fmla="*/ 145 w 202"/>
                <a:gd name="T11" fmla="*/ 0 h 219"/>
                <a:gd name="T12" fmla="*/ 202 w 202"/>
                <a:gd name="T13" fmla="*/ 0 h 219"/>
                <a:gd name="T14" fmla="*/ 123 w 202"/>
                <a:gd name="T15" fmla="*/ 219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2" h="219">
                  <a:moveTo>
                    <a:pt x="123" y="219"/>
                  </a:moveTo>
                  <a:lnTo>
                    <a:pt x="81" y="219"/>
                  </a:lnTo>
                  <a:lnTo>
                    <a:pt x="0" y="0"/>
                  </a:lnTo>
                  <a:lnTo>
                    <a:pt x="62" y="0"/>
                  </a:lnTo>
                  <a:lnTo>
                    <a:pt x="104" y="130"/>
                  </a:lnTo>
                  <a:lnTo>
                    <a:pt x="145" y="0"/>
                  </a:lnTo>
                  <a:lnTo>
                    <a:pt x="202" y="0"/>
                  </a:lnTo>
                  <a:lnTo>
                    <a:pt x="123" y="2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65"/>
            <p:cNvSpPr>
              <a:spLocks noEditPoints="1"/>
            </p:cNvSpPr>
            <p:nvPr/>
          </p:nvSpPr>
          <p:spPr bwMode="auto">
            <a:xfrm>
              <a:off x="-4396" y="10586"/>
              <a:ext cx="198" cy="224"/>
            </a:xfrm>
            <a:custGeom>
              <a:avLst/>
              <a:gdLst>
                <a:gd name="T0" fmla="*/ 55 w 105"/>
                <a:gd name="T1" fmla="*/ 22 h 119"/>
                <a:gd name="T2" fmla="*/ 42 w 105"/>
                <a:gd name="T3" fmla="*/ 26 h 119"/>
                <a:gd name="T4" fmla="*/ 33 w 105"/>
                <a:gd name="T5" fmla="*/ 44 h 119"/>
                <a:gd name="T6" fmla="*/ 78 w 105"/>
                <a:gd name="T7" fmla="*/ 44 h 119"/>
                <a:gd name="T8" fmla="*/ 55 w 105"/>
                <a:gd name="T9" fmla="*/ 22 h 119"/>
                <a:gd name="T10" fmla="*/ 32 w 105"/>
                <a:gd name="T11" fmla="*/ 63 h 119"/>
                <a:gd name="T12" fmla="*/ 61 w 105"/>
                <a:gd name="T13" fmla="*/ 93 h 119"/>
                <a:gd name="T14" fmla="*/ 100 w 105"/>
                <a:gd name="T15" fmla="*/ 77 h 119"/>
                <a:gd name="T16" fmla="*/ 103 w 105"/>
                <a:gd name="T17" fmla="*/ 106 h 119"/>
                <a:gd name="T18" fmla="*/ 55 w 105"/>
                <a:gd name="T19" fmla="*/ 119 h 119"/>
                <a:gd name="T20" fmla="*/ 0 w 105"/>
                <a:gd name="T21" fmla="*/ 60 h 119"/>
                <a:gd name="T22" fmla="*/ 55 w 105"/>
                <a:gd name="T23" fmla="*/ 0 h 119"/>
                <a:gd name="T24" fmla="*/ 105 w 105"/>
                <a:gd name="T25" fmla="*/ 63 h 119"/>
                <a:gd name="T26" fmla="*/ 32 w 105"/>
                <a:gd name="T27" fmla="*/ 63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5" h="119">
                  <a:moveTo>
                    <a:pt x="55" y="22"/>
                  </a:moveTo>
                  <a:cubicBezTo>
                    <a:pt x="51" y="22"/>
                    <a:pt x="43" y="25"/>
                    <a:pt x="42" y="26"/>
                  </a:cubicBezTo>
                  <a:cubicBezTo>
                    <a:pt x="42" y="26"/>
                    <a:pt x="34" y="33"/>
                    <a:pt x="33" y="44"/>
                  </a:cubicBezTo>
                  <a:lnTo>
                    <a:pt x="78" y="44"/>
                  </a:lnTo>
                  <a:cubicBezTo>
                    <a:pt x="77" y="31"/>
                    <a:pt x="74" y="22"/>
                    <a:pt x="55" y="22"/>
                  </a:cubicBezTo>
                  <a:close/>
                  <a:moveTo>
                    <a:pt x="32" y="63"/>
                  </a:moveTo>
                  <a:cubicBezTo>
                    <a:pt x="32" y="78"/>
                    <a:pt x="44" y="93"/>
                    <a:pt x="61" y="93"/>
                  </a:cubicBezTo>
                  <a:cubicBezTo>
                    <a:pt x="73" y="93"/>
                    <a:pt x="86" y="88"/>
                    <a:pt x="100" y="77"/>
                  </a:cubicBezTo>
                  <a:lnTo>
                    <a:pt x="103" y="106"/>
                  </a:lnTo>
                  <a:cubicBezTo>
                    <a:pt x="90" y="114"/>
                    <a:pt x="77" y="119"/>
                    <a:pt x="55" y="119"/>
                  </a:cubicBezTo>
                  <a:cubicBezTo>
                    <a:pt x="24" y="119"/>
                    <a:pt x="0" y="97"/>
                    <a:pt x="0" y="60"/>
                  </a:cubicBezTo>
                  <a:cubicBezTo>
                    <a:pt x="0" y="22"/>
                    <a:pt x="23" y="0"/>
                    <a:pt x="55" y="0"/>
                  </a:cubicBezTo>
                  <a:cubicBezTo>
                    <a:pt x="94" y="0"/>
                    <a:pt x="105" y="20"/>
                    <a:pt x="105" y="63"/>
                  </a:cubicBezTo>
                  <a:lnTo>
                    <a:pt x="32" y="6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66"/>
            <p:cNvSpPr>
              <a:spLocks/>
            </p:cNvSpPr>
            <p:nvPr/>
          </p:nvSpPr>
          <p:spPr bwMode="auto">
            <a:xfrm>
              <a:off x="-4143" y="10586"/>
              <a:ext cx="140" cy="218"/>
            </a:xfrm>
            <a:custGeom>
              <a:avLst/>
              <a:gdLst>
                <a:gd name="T0" fmla="*/ 50 w 74"/>
                <a:gd name="T1" fmla="*/ 37 h 116"/>
                <a:gd name="T2" fmla="*/ 45 w 74"/>
                <a:gd name="T3" fmla="*/ 25 h 116"/>
                <a:gd name="T4" fmla="*/ 33 w 74"/>
                <a:gd name="T5" fmla="*/ 39 h 116"/>
                <a:gd name="T6" fmla="*/ 33 w 74"/>
                <a:gd name="T7" fmla="*/ 116 h 116"/>
                <a:gd name="T8" fmla="*/ 3 w 74"/>
                <a:gd name="T9" fmla="*/ 116 h 116"/>
                <a:gd name="T10" fmla="*/ 3 w 74"/>
                <a:gd name="T11" fmla="*/ 36 h 116"/>
                <a:gd name="T12" fmla="*/ 0 w 74"/>
                <a:gd name="T13" fmla="*/ 3 h 116"/>
                <a:gd name="T14" fmla="*/ 27 w 74"/>
                <a:gd name="T15" fmla="*/ 3 h 116"/>
                <a:gd name="T16" fmla="*/ 30 w 74"/>
                <a:gd name="T17" fmla="*/ 16 h 116"/>
                <a:gd name="T18" fmla="*/ 54 w 74"/>
                <a:gd name="T19" fmla="*/ 0 h 116"/>
                <a:gd name="T20" fmla="*/ 74 w 74"/>
                <a:gd name="T21" fmla="*/ 23 h 116"/>
                <a:gd name="T22" fmla="*/ 73 w 74"/>
                <a:gd name="T23" fmla="*/ 34 h 116"/>
                <a:gd name="T24" fmla="*/ 50 w 74"/>
                <a:gd name="T25" fmla="*/ 37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4" h="116">
                  <a:moveTo>
                    <a:pt x="50" y="37"/>
                  </a:moveTo>
                  <a:cubicBezTo>
                    <a:pt x="49" y="31"/>
                    <a:pt x="50" y="25"/>
                    <a:pt x="45" y="25"/>
                  </a:cubicBezTo>
                  <a:cubicBezTo>
                    <a:pt x="41" y="25"/>
                    <a:pt x="38" y="30"/>
                    <a:pt x="33" y="39"/>
                  </a:cubicBezTo>
                  <a:lnTo>
                    <a:pt x="33" y="116"/>
                  </a:lnTo>
                  <a:lnTo>
                    <a:pt x="3" y="116"/>
                  </a:lnTo>
                  <a:lnTo>
                    <a:pt x="3" y="36"/>
                  </a:lnTo>
                  <a:cubicBezTo>
                    <a:pt x="3" y="25"/>
                    <a:pt x="2" y="14"/>
                    <a:pt x="0" y="3"/>
                  </a:cubicBezTo>
                  <a:lnTo>
                    <a:pt x="27" y="3"/>
                  </a:lnTo>
                  <a:lnTo>
                    <a:pt x="30" y="16"/>
                  </a:lnTo>
                  <a:cubicBezTo>
                    <a:pt x="34" y="8"/>
                    <a:pt x="45" y="0"/>
                    <a:pt x="54" y="0"/>
                  </a:cubicBezTo>
                  <a:cubicBezTo>
                    <a:pt x="69" y="0"/>
                    <a:pt x="74" y="9"/>
                    <a:pt x="74" y="23"/>
                  </a:cubicBezTo>
                  <a:cubicBezTo>
                    <a:pt x="74" y="26"/>
                    <a:pt x="74" y="30"/>
                    <a:pt x="73" y="34"/>
                  </a:cubicBezTo>
                  <a:lnTo>
                    <a:pt x="50" y="37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67"/>
            <p:cNvSpPr>
              <a:spLocks/>
            </p:cNvSpPr>
            <p:nvPr/>
          </p:nvSpPr>
          <p:spPr bwMode="auto">
            <a:xfrm>
              <a:off x="-3965" y="10586"/>
              <a:ext cx="168" cy="224"/>
            </a:xfrm>
            <a:custGeom>
              <a:avLst/>
              <a:gdLst>
                <a:gd name="T0" fmla="*/ 41 w 89"/>
                <a:gd name="T1" fmla="*/ 119 h 119"/>
                <a:gd name="T2" fmla="*/ 0 w 89"/>
                <a:gd name="T3" fmla="*/ 108 h 119"/>
                <a:gd name="T4" fmla="*/ 3 w 89"/>
                <a:gd name="T5" fmla="*/ 83 h 119"/>
                <a:gd name="T6" fmla="*/ 41 w 89"/>
                <a:gd name="T7" fmla="*/ 94 h 119"/>
                <a:gd name="T8" fmla="*/ 58 w 89"/>
                <a:gd name="T9" fmla="*/ 86 h 119"/>
                <a:gd name="T10" fmla="*/ 0 w 89"/>
                <a:gd name="T11" fmla="*/ 32 h 119"/>
                <a:gd name="T12" fmla="*/ 46 w 89"/>
                <a:gd name="T13" fmla="*/ 0 h 119"/>
                <a:gd name="T14" fmla="*/ 85 w 89"/>
                <a:gd name="T15" fmla="*/ 10 h 119"/>
                <a:gd name="T16" fmla="*/ 82 w 89"/>
                <a:gd name="T17" fmla="*/ 36 h 119"/>
                <a:gd name="T18" fmla="*/ 45 w 89"/>
                <a:gd name="T19" fmla="*/ 24 h 119"/>
                <a:gd name="T20" fmla="*/ 30 w 89"/>
                <a:gd name="T21" fmla="*/ 31 h 119"/>
                <a:gd name="T22" fmla="*/ 89 w 89"/>
                <a:gd name="T23" fmla="*/ 84 h 119"/>
                <a:gd name="T24" fmla="*/ 41 w 89"/>
                <a:gd name="T25" fmla="*/ 11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9" h="119">
                  <a:moveTo>
                    <a:pt x="41" y="119"/>
                  </a:moveTo>
                  <a:cubicBezTo>
                    <a:pt x="27" y="119"/>
                    <a:pt x="13" y="116"/>
                    <a:pt x="0" y="108"/>
                  </a:cubicBezTo>
                  <a:lnTo>
                    <a:pt x="3" y="83"/>
                  </a:lnTo>
                  <a:cubicBezTo>
                    <a:pt x="16" y="91"/>
                    <a:pt x="24" y="94"/>
                    <a:pt x="41" y="94"/>
                  </a:cubicBezTo>
                  <a:cubicBezTo>
                    <a:pt x="55" y="94"/>
                    <a:pt x="58" y="90"/>
                    <a:pt x="58" y="86"/>
                  </a:cubicBezTo>
                  <a:cubicBezTo>
                    <a:pt x="58" y="68"/>
                    <a:pt x="0" y="73"/>
                    <a:pt x="0" y="32"/>
                  </a:cubicBezTo>
                  <a:cubicBezTo>
                    <a:pt x="0" y="12"/>
                    <a:pt x="17" y="0"/>
                    <a:pt x="46" y="0"/>
                  </a:cubicBezTo>
                  <a:cubicBezTo>
                    <a:pt x="61" y="0"/>
                    <a:pt x="70" y="3"/>
                    <a:pt x="85" y="10"/>
                  </a:cubicBezTo>
                  <a:lnTo>
                    <a:pt x="82" y="36"/>
                  </a:lnTo>
                  <a:cubicBezTo>
                    <a:pt x="67" y="25"/>
                    <a:pt x="53" y="24"/>
                    <a:pt x="45" y="24"/>
                  </a:cubicBezTo>
                  <a:cubicBezTo>
                    <a:pt x="40" y="24"/>
                    <a:pt x="30" y="25"/>
                    <a:pt x="30" y="31"/>
                  </a:cubicBezTo>
                  <a:cubicBezTo>
                    <a:pt x="30" y="48"/>
                    <a:pt x="89" y="46"/>
                    <a:pt x="89" y="84"/>
                  </a:cubicBezTo>
                  <a:cubicBezTo>
                    <a:pt x="89" y="103"/>
                    <a:pt x="73" y="119"/>
                    <a:pt x="41" y="11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68"/>
            <p:cNvSpPr>
              <a:spLocks noEditPoints="1"/>
            </p:cNvSpPr>
            <p:nvPr/>
          </p:nvSpPr>
          <p:spPr bwMode="auto">
            <a:xfrm>
              <a:off x="-3742" y="10482"/>
              <a:ext cx="66" cy="322"/>
            </a:xfrm>
            <a:custGeom>
              <a:avLst/>
              <a:gdLst>
                <a:gd name="T0" fmla="*/ 3 w 35"/>
                <a:gd name="T1" fmla="*/ 171 h 171"/>
                <a:gd name="T2" fmla="*/ 3 w 35"/>
                <a:gd name="T3" fmla="*/ 58 h 171"/>
                <a:gd name="T4" fmla="*/ 33 w 35"/>
                <a:gd name="T5" fmla="*/ 58 h 171"/>
                <a:gd name="T6" fmla="*/ 33 w 35"/>
                <a:gd name="T7" fmla="*/ 171 h 171"/>
                <a:gd name="T8" fmla="*/ 3 w 35"/>
                <a:gd name="T9" fmla="*/ 171 h 171"/>
                <a:gd name="T10" fmla="*/ 17 w 35"/>
                <a:gd name="T11" fmla="*/ 36 h 171"/>
                <a:gd name="T12" fmla="*/ 0 w 35"/>
                <a:gd name="T13" fmla="*/ 18 h 171"/>
                <a:gd name="T14" fmla="*/ 17 w 35"/>
                <a:gd name="T15" fmla="*/ 0 h 171"/>
                <a:gd name="T16" fmla="*/ 35 w 35"/>
                <a:gd name="T17" fmla="*/ 18 h 171"/>
                <a:gd name="T18" fmla="*/ 17 w 35"/>
                <a:gd name="T19" fmla="*/ 36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" h="171">
                  <a:moveTo>
                    <a:pt x="3" y="171"/>
                  </a:moveTo>
                  <a:lnTo>
                    <a:pt x="3" y="58"/>
                  </a:lnTo>
                  <a:lnTo>
                    <a:pt x="33" y="58"/>
                  </a:lnTo>
                  <a:lnTo>
                    <a:pt x="33" y="171"/>
                  </a:lnTo>
                  <a:lnTo>
                    <a:pt x="3" y="171"/>
                  </a:lnTo>
                  <a:close/>
                  <a:moveTo>
                    <a:pt x="17" y="36"/>
                  </a:moveTo>
                  <a:cubicBezTo>
                    <a:pt x="8" y="36"/>
                    <a:pt x="0" y="28"/>
                    <a:pt x="0" y="18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7" y="0"/>
                    <a:pt x="35" y="8"/>
                    <a:pt x="35" y="18"/>
                  </a:cubicBezTo>
                  <a:cubicBezTo>
                    <a:pt x="35" y="28"/>
                    <a:pt x="27" y="36"/>
                    <a:pt x="17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69"/>
            <p:cNvSpPr>
              <a:spLocks/>
            </p:cNvSpPr>
            <p:nvPr/>
          </p:nvSpPr>
          <p:spPr bwMode="auto">
            <a:xfrm>
              <a:off x="-3627" y="10518"/>
              <a:ext cx="144" cy="292"/>
            </a:xfrm>
            <a:custGeom>
              <a:avLst/>
              <a:gdLst>
                <a:gd name="T0" fmla="*/ 46 w 76"/>
                <a:gd name="T1" fmla="*/ 155 h 155"/>
                <a:gd name="T2" fmla="*/ 17 w 76"/>
                <a:gd name="T3" fmla="*/ 123 h 155"/>
                <a:gd name="T4" fmla="*/ 17 w 76"/>
                <a:gd name="T5" fmla="*/ 59 h 155"/>
                <a:gd name="T6" fmla="*/ 0 w 76"/>
                <a:gd name="T7" fmla="*/ 59 h 155"/>
                <a:gd name="T8" fmla="*/ 0 w 76"/>
                <a:gd name="T9" fmla="*/ 39 h 155"/>
                <a:gd name="T10" fmla="*/ 17 w 76"/>
                <a:gd name="T11" fmla="*/ 39 h 155"/>
                <a:gd name="T12" fmla="*/ 17 w 76"/>
                <a:gd name="T13" fmla="*/ 0 h 155"/>
                <a:gd name="T14" fmla="*/ 46 w 76"/>
                <a:gd name="T15" fmla="*/ 0 h 155"/>
                <a:gd name="T16" fmla="*/ 46 w 76"/>
                <a:gd name="T17" fmla="*/ 39 h 155"/>
                <a:gd name="T18" fmla="*/ 71 w 76"/>
                <a:gd name="T19" fmla="*/ 39 h 155"/>
                <a:gd name="T20" fmla="*/ 71 w 76"/>
                <a:gd name="T21" fmla="*/ 59 h 155"/>
                <a:gd name="T22" fmla="*/ 46 w 76"/>
                <a:gd name="T23" fmla="*/ 59 h 155"/>
                <a:gd name="T24" fmla="*/ 46 w 76"/>
                <a:gd name="T25" fmla="*/ 117 h 155"/>
                <a:gd name="T26" fmla="*/ 52 w 76"/>
                <a:gd name="T27" fmla="*/ 129 h 155"/>
                <a:gd name="T28" fmla="*/ 73 w 76"/>
                <a:gd name="T29" fmla="*/ 121 h 155"/>
                <a:gd name="T30" fmla="*/ 76 w 76"/>
                <a:gd name="T31" fmla="*/ 146 h 155"/>
                <a:gd name="T32" fmla="*/ 46 w 76"/>
                <a:gd name="T33" fmla="*/ 155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6" h="155">
                  <a:moveTo>
                    <a:pt x="46" y="155"/>
                  </a:moveTo>
                  <a:cubicBezTo>
                    <a:pt x="29" y="155"/>
                    <a:pt x="17" y="144"/>
                    <a:pt x="17" y="123"/>
                  </a:cubicBezTo>
                  <a:lnTo>
                    <a:pt x="17" y="59"/>
                  </a:lnTo>
                  <a:lnTo>
                    <a:pt x="0" y="59"/>
                  </a:lnTo>
                  <a:lnTo>
                    <a:pt x="0" y="39"/>
                  </a:lnTo>
                  <a:lnTo>
                    <a:pt x="17" y="39"/>
                  </a:lnTo>
                  <a:lnTo>
                    <a:pt x="17" y="0"/>
                  </a:lnTo>
                  <a:lnTo>
                    <a:pt x="46" y="0"/>
                  </a:lnTo>
                  <a:lnTo>
                    <a:pt x="46" y="39"/>
                  </a:lnTo>
                  <a:lnTo>
                    <a:pt x="71" y="39"/>
                  </a:lnTo>
                  <a:lnTo>
                    <a:pt x="71" y="59"/>
                  </a:lnTo>
                  <a:lnTo>
                    <a:pt x="46" y="59"/>
                  </a:lnTo>
                  <a:lnTo>
                    <a:pt x="46" y="117"/>
                  </a:lnTo>
                  <a:cubicBezTo>
                    <a:pt x="46" y="128"/>
                    <a:pt x="49" y="129"/>
                    <a:pt x="52" y="129"/>
                  </a:cubicBezTo>
                  <a:cubicBezTo>
                    <a:pt x="59" y="129"/>
                    <a:pt x="67" y="124"/>
                    <a:pt x="73" y="121"/>
                  </a:cubicBezTo>
                  <a:lnTo>
                    <a:pt x="76" y="146"/>
                  </a:lnTo>
                  <a:cubicBezTo>
                    <a:pt x="66" y="151"/>
                    <a:pt x="55" y="155"/>
                    <a:pt x="46" y="15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Freeform 70"/>
            <p:cNvSpPr>
              <a:spLocks noEditPoints="1"/>
            </p:cNvSpPr>
            <p:nvPr/>
          </p:nvSpPr>
          <p:spPr bwMode="auto">
            <a:xfrm>
              <a:off x="-3442" y="10493"/>
              <a:ext cx="180" cy="317"/>
            </a:xfrm>
            <a:custGeom>
              <a:avLst/>
              <a:gdLst>
                <a:gd name="T0" fmla="*/ 70 w 95"/>
                <a:gd name="T1" fmla="*/ 33 h 168"/>
                <a:gd name="T2" fmla="*/ 54 w 95"/>
                <a:gd name="T3" fmla="*/ 17 h 168"/>
                <a:gd name="T4" fmla="*/ 70 w 95"/>
                <a:gd name="T5" fmla="*/ 0 h 168"/>
                <a:gd name="T6" fmla="*/ 86 w 95"/>
                <a:gd name="T7" fmla="*/ 17 h 168"/>
                <a:gd name="T8" fmla="*/ 70 w 95"/>
                <a:gd name="T9" fmla="*/ 33 h 168"/>
                <a:gd name="T10" fmla="*/ 61 w 95"/>
                <a:gd name="T11" fmla="*/ 115 h 168"/>
                <a:gd name="T12" fmla="*/ 31 w 95"/>
                <a:gd name="T13" fmla="*/ 125 h 168"/>
                <a:gd name="T14" fmla="*/ 30 w 95"/>
                <a:gd name="T15" fmla="*/ 134 h 168"/>
                <a:gd name="T16" fmla="*/ 39 w 95"/>
                <a:gd name="T17" fmla="*/ 146 h 168"/>
                <a:gd name="T18" fmla="*/ 61 w 95"/>
                <a:gd name="T19" fmla="*/ 132 h 168"/>
                <a:gd name="T20" fmla="*/ 61 w 95"/>
                <a:gd name="T21" fmla="*/ 115 h 168"/>
                <a:gd name="T22" fmla="*/ 28 w 95"/>
                <a:gd name="T23" fmla="*/ 33 h 168"/>
                <a:gd name="T24" fmla="*/ 12 w 95"/>
                <a:gd name="T25" fmla="*/ 17 h 168"/>
                <a:gd name="T26" fmla="*/ 28 w 95"/>
                <a:gd name="T27" fmla="*/ 0 h 168"/>
                <a:gd name="T28" fmla="*/ 44 w 95"/>
                <a:gd name="T29" fmla="*/ 17 h 168"/>
                <a:gd name="T30" fmla="*/ 28 w 95"/>
                <a:gd name="T31" fmla="*/ 33 h 168"/>
                <a:gd name="T32" fmla="*/ 68 w 95"/>
                <a:gd name="T33" fmla="*/ 165 h 168"/>
                <a:gd name="T34" fmla="*/ 65 w 95"/>
                <a:gd name="T35" fmla="*/ 152 h 168"/>
                <a:gd name="T36" fmla="*/ 33 w 95"/>
                <a:gd name="T37" fmla="*/ 168 h 168"/>
                <a:gd name="T38" fmla="*/ 0 w 95"/>
                <a:gd name="T39" fmla="*/ 140 h 168"/>
                <a:gd name="T40" fmla="*/ 6 w 95"/>
                <a:gd name="T41" fmla="*/ 116 h 168"/>
                <a:gd name="T42" fmla="*/ 61 w 95"/>
                <a:gd name="T43" fmla="*/ 96 h 168"/>
                <a:gd name="T44" fmla="*/ 61 w 95"/>
                <a:gd name="T45" fmla="*/ 87 h 168"/>
                <a:gd name="T46" fmla="*/ 46 w 95"/>
                <a:gd name="T47" fmla="*/ 71 h 168"/>
                <a:gd name="T48" fmla="*/ 30 w 95"/>
                <a:gd name="T49" fmla="*/ 74 h 168"/>
                <a:gd name="T50" fmla="*/ 29 w 95"/>
                <a:gd name="T51" fmla="*/ 83 h 168"/>
                <a:gd name="T52" fmla="*/ 4 w 95"/>
                <a:gd name="T53" fmla="*/ 85 h 168"/>
                <a:gd name="T54" fmla="*/ 4 w 95"/>
                <a:gd name="T55" fmla="*/ 80 h 168"/>
                <a:gd name="T56" fmla="*/ 6 w 95"/>
                <a:gd name="T57" fmla="*/ 63 h 168"/>
                <a:gd name="T58" fmla="*/ 49 w 95"/>
                <a:gd name="T59" fmla="*/ 49 h 168"/>
                <a:gd name="T60" fmla="*/ 91 w 95"/>
                <a:gd name="T61" fmla="*/ 81 h 168"/>
                <a:gd name="T62" fmla="*/ 91 w 95"/>
                <a:gd name="T63" fmla="*/ 131 h 168"/>
                <a:gd name="T64" fmla="*/ 95 w 95"/>
                <a:gd name="T65" fmla="*/ 165 h 168"/>
                <a:gd name="T66" fmla="*/ 68 w 95"/>
                <a:gd name="T67" fmla="*/ 165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95" h="168">
                  <a:moveTo>
                    <a:pt x="70" y="33"/>
                  </a:moveTo>
                  <a:cubicBezTo>
                    <a:pt x="61" y="33"/>
                    <a:pt x="54" y="26"/>
                    <a:pt x="54" y="17"/>
                  </a:cubicBezTo>
                  <a:cubicBezTo>
                    <a:pt x="54" y="8"/>
                    <a:pt x="61" y="0"/>
                    <a:pt x="70" y="0"/>
                  </a:cubicBezTo>
                  <a:cubicBezTo>
                    <a:pt x="79" y="0"/>
                    <a:pt x="86" y="8"/>
                    <a:pt x="86" y="17"/>
                  </a:cubicBezTo>
                  <a:cubicBezTo>
                    <a:pt x="86" y="26"/>
                    <a:pt x="79" y="33"/>
                    <a:pt x="70" y="33"/>
                  </a:cubicBezTo>
                  <a:close/>
                  <a:moveTo>
                    <a:pt x="61" y="115"/>
                  </a:moveTo>
                  <a:cubicBezTo>
                    <a:pt x="49" y="118"/>
                    <a:pt x="42" y="120"/>
                    <a:pt x="31" y="125"/>
                  </a:cubicBezTo>
                  <a:cubicBezTo>
                    <a:pt x="30" y="129"/>
                    <a:pt x="30" y="130"/>
                    <a:pt x="30" y="134"/>
                  </a:cubicBezTo>
                  <a:cubicBezTo>
                    <a:pt x="30" y="140"/>
                    <a:pt x="31" y="146"/>
                    <a:pt x="39" y="146"/>
                  </a:cubicBezTo>
                  <a:cubicBezTo>
                    <a:pt x="44" y="146"/>
                    <a:pt x="52" y="142"/>
                    <a:pt x="61" y="132"/>
                  </a:cubicBezTo>
                  <a:lnTo>
                    <a:pt x="61" y="115"/>
                  </a:lnTo>
                  <a:close/>
                  <a:moveTo>
                    <a:pt x="28" y="33"/>
                  </a:moveTo>
                  <a:cubicBezTo>
                    <a:pt x="19" y="33"/>
                    <a:pt x="12" y="26"/>
                    <a:pt x="12" y="17"/>
                  </a:cubicBezTo>
                  <a:cubicBezTo>
                    <a:pt x="12" y="8"/>
                    <a:pt x="19" y="0"/>
                    <a:pt x="28" y="0"/>
                  </a:cubicBezTo>
                  <a:cubicBezTo>
                    <a:pt x="37" y="0"/>
                    <a:pt x="44" y="8"/>
                    <a:pt x="44" y="17"/>
                  </a:cubicBezTo>
                  <a:cubicBezTo>
                    <a:pt x="44" y="26"/>
                    <a:pt x="37" y="33"/>
                    <a:pt x="28" y="33"/>
                  </a:cubicBezTo>
                  <a:close/>
                  <a:moveTo>
                    <a:pt x="68" y="165"/>
                  </a:moveTo>
                  <a:cubicBezTo>
                    <a:pt x="66" y="160"/>
                    <a:pt x="66" y="158"/>
                    <a:pt x="65" y="152"/>
                  </a:cubicBezTo>
                  <a:cubicBezTo>
                    <a:pt x="59" y="160"/>
                    <a:pt x="48" y="168"/>
                    <a:pt x="33" y="168"/>
                  </a:cubicBezTo>
                  <a:cubicBezTo>
                    <a:pt x="14" y="168"/>
                    <a:pt x="0" y="156"/>
                    <a:pt x="0" y="140"/>
                  </a:cubicBezTo>
                  <a:cubicBezTo>
                    <a:pt x="0" y="130"/>
                    <a:pt x="2" y="120"/>
                    <a:pt x="6" y="116"/>
                  </a:cubicBezTo>
                  <a:cubicBezTo>
                    <a:pt x="12" y="108"/>
                    <a:pt x="45" y="99"/>
                    <a:pt x="61" y="96"/>
                  </a:cubicBezTo>
                  <a:lnTo>
                    <a:pt x="61" y="87"/>
                  </a:lnTo>
                  <a:cubicBezTo>
                    <a:pt x="61" y="75"/>
                    <a:pt x="59" y="71"/>
                    <a:pt x="46" y="71"/>
                  </a:cubicBezTo>
                  <a:cubicBezTo>
                    <a:pt x="41" y="71"/>
                    <a:pt x="32" y="71"/>
                    <a:pt x="30" y="74"/>
                  </a:cubicBezTo>
                  <a:cubicBezTo>
                    <a:pt x="29" y="77"/>
                    <a:pt x="29" y="78"/>
                    <a:pt x="29" y="83"/>
                  </a:cubicBezTo>
                  <a:lnTo>
                    <a:pt x="4" y="85"/>
                  </a:lnTo>
                  <a:cubicBezTo>
                    <a:pt x="4" y="83"/>
                    <a:pt x="4" y="82"/>
                    <a:pt x="4" y="80"/>
                  </a:cubicBezTo>
                  <a:cubicBezTo>
                    <a:pt x="4" y="74"/>
                    <a:pt x="5" y="69"/>
                    <a:pt x="6" y="63"/>
                  </a:cubicBezTo>
                  <a:cubicBezTo>
                    <a:pt x="8" y="59"/>
                    <a:pt x="26" y="49"/>
                    <a:pt x="49" y="49"/>
                  </a:cubicBezTo>
                  <a:cubicBezTo>
                    <a:pt x="75" y="49"/>
                    <a:pt x="91" y="61"/>
                    <a:pt x="91" y="81"/>
                  </a:cubicBezTo>
                  <a:lnTo>
                    <a:pt x="91" y="131"/>
                  </a:lnTo>
                  <a:cubicBezTo>
                    <a:pt x="91" y="144"/>
                    <a:pt x="93" y="156"/>
                    <a:pt x="95" y="165"/>
                  </a:cubicBezTo>
                  <a:lnTo>
                    <a:pt x="68" y="165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Freeform 71"/>
            <p:cNvSpPr>
              <a:spLocks/>
            </p:cNvSpPr>
            <p:nvPr/>
          </p:nvSpPr>
          <p:spPr bwMode="auto">
            <a:xfrm>
              <a:off x="-3227" y="10518"/>
              <a:ext cx="144" cy="292"/>
            </a:xfrm>
            <a:custGeom>
              <a:avLst/>
              <a:gdLst>
                <a:gd name="T0" fmla="*/ 46 w 76"/>
                <a:gd name="T1" fmla="*/ 155 h 155"/>
                <a:gd name="T2" fmla="*/ 17 w 76"/>
                <a:gd name="T3" fmla="*/ 123 h 155"/>
                <a:gd name="T4" fmla="*/ 17 w 76"/>
                <a:gd name="T5" fmla="*/ 59 h 155"/>
                <a:gd name="T6" fmla="*/ 0 w 76"/>
                <a:gd name="T7" fmla="*/ 59 h 155"/>
                <a:gd name="T8" fmla="*/ 0 w 76"/>
                <a:gd name="T9" fmla="*/ 39 h 155"/>
                <a:gd name="T10" fmla="*/ 17 w 76"/>
                <a:gd name="T11" fmla="*/ 39 h 155"/>
                <a:gd name="T12" fmla="*/ 17 w 76"/>
                <a:gd name="T13" fmla="*/ 0 h 155"/>
                <a:gd name="T14" fmla="*/ 46 w 76"/>
                <a:gd name="T15" fmla="*/ 0 h 155"/>
                <a:gd name="T16" fmla="*/ 46 w 76"/>
                <a:gd name="T17" fmla="*/ 39 h 155"/>
                <a:gd name="T18" fmla="*/ 71 w 76"/>
                <a:gd name="T19" fmla="*/ 39 h 155"/>
                <a:gd name="T20" fmla="*/ 71 w 76"/>
                <a:gd name="T21" fmla="*/ 59 h 155"/>
                <a:gd name="T22" fmla="*/ 46 w 76"/>
                <a:gd name="T23" fmla="*/ 59 h 155"/>
                <a:gd name="T24" fmla="*/ 46 w 76"/>
                <a:gd name="T25" fmla="*/ 117 h 155"/>
                <a:gd name="T26" fmla="*/ 52 w 76"/>
                <a:gd name="T27" fmla="*/ 129 h 155"/>
                <a:gd name="T28" fmla="*/ 73 w 76"/>
                <a:gd name="T29" fmla="*/ 121 h 155"/>
                <a:gd name="T30" fmla="*/ 76 w 76"/>
                <a:gd name="T31" fmla="*/ 146 h 155"/>
                <a:gd name="T32" fmla="*/ 46 w 76"/>
                <a:gd name="T33" fmla="*/ 155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6" h="155">
                  <a:moveTo>
                    <a:pt x="46" y="155"/>
                  </a:moveTo>
                  <a:cubicBezTo>
                    <a:pt x="29" y="155"/>
                    <a:pt x="17" y="144"/>
                    <a:pt x="17" y="123"/>
                  </a:cubicBezTo>
                  <a:lnTo>
                    <a:pt x="17" y="59"/>
                  </a:lnTo>
                  <a:lnTo>
                    <a:pt x="0" y="59"/>
                  </a:lnTo>
                  <a:lnTo>
                    <a:pt x="0" y="39"/>
                  </a:lnTo>
                  <a:lnTo>
                    <a:pt x="17" y="39"/>
                  </a:lnTo>
                  <a:lnTo>
                    <a:pt x="17" y="0"/>
                  </a:lnTo>
                  <a:lnTo>
                    <a:pt x="46" y="0"/>
                  </a:lnTo>
                  <a:lnTo>
                    <a:pt x="46" y="39"/>
                  </a:lnTo>
                  <a:lnTo>
                    <a:pt x="71" y="39"/>
                  </a:lnTo>
                  <a:lnTo>
                    <a:pt x="71" y="59"/>
                  </a:lnTo>
                  <a:lnTo>
                    <a:pt x="46" y="59"/>
                  </a:lnTo>
                  <a:lnTo>
                    <a:pt x="46" y="117"/>
                  </a:lnTo>
                  <a:cubicBezTo>
                    <a:pt x="46" y="128"/>
                    <a:pt x="50" y="129"/>
                    <a:pt x="52" y="129"/>
                  </a:cubicBezTo>
                  <a:cubicBezTo>
                    <a:pt x="59" y="129"/>
                    <a:pt x="68" y="124"/>
                    <a:pt x="73" y="121"/>
                  </a:cubicBezTo>
                  <a:lnTo>
                    <a:pt x="76" y="146"/>
                  </a:lnTo>
                  <a:cubicBezTo>
                    <a:pt x="66" y="151"/>
                    <a:pt x="56" y="155"/>
                    <a:pt x="46" y="15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Freeform 72"/>
            <p:cNvSpPr>
              <a:spLocks noEditPoints="1"/>
            </p:cNvSpPr>
            <p:nvPr/>
          </p:nvSpPr>
          <p:spPr bwMode="auto">
            <a:xfrm>
              <a:off x="-5306" y="10995"/>
              <a:ext cx="228" cy="311"/>
            </a:xfrm>
            <a:custGeom>
              <a:avLst/>
              <a:gdLst>
                <a:gd name="T0" fmla="*/ 57 w 121"/>
                <a:gd name="T1" fmla="*/ 90 h 165"/>
                <a:gd name="T2" fmla="*/ 31 w 121"/>
                <a:gd name="T3" fmla="*/ 90 h 165"/>
                <a:gd name="T4" fmla="*/ 31 w 121"/>
                <a:gd name="T5" fmla="*/ 141 h 165"/>
                <a:gd name="T6" fmla="*/ 56 w 121"/>
                <a:gd name="T7" fmla="*/ 141 h 165"/>
                <a:gd name="T8" fmla="*/ 89 w 121"/>
                <a:gd name="T9" fmla="*/ 115 h 165"/>
                <a:gd name="T10" fmla="*/ 57 w 121"/>
                <a:gd name="T11" fmla="*/ 90 h 165"/>
                <a:gd name="T12" fmla="*/ 54 w 121"/>
                <a:gd name="T13" fmla="*/ 24 h 165"/>
                <a:gd name="T14" fmla="*/ 31 w 121"/>
                <a:gd name="T15" fmla="*/ 24 h 165"/>
                <a:gd name="T16" fmla="*/ 31 w 121"/>
                <a:gd name="T17" fmla="*/ 66 h 165"/>
                <a:gd name="T18" fmla="*/ 52 w 121"/>
                <a:gd name="T19" fmla="*/ 66 h 165"/>
                <a:gd name="T20" fmla="*/ 79 w 121"/>
                <a:gd name="T21" fmla="*/ 45 h 165"/>
                <a:gd name="T22" fmla="*/ 54 w 121"/>
                <a:gd name="T23" fmla="*/ 24 h 165"/>
                <a:gd name="T24" fmla="*/ 65 w 121"/>
                <a:gd name="T25" fmla="*/ 165 h 165"/>
                <a:gd name="T26" fmla="*/ 0 w 121"/>
                <a:gd name="T27" fmla="*/ 165 h 165"/>
                <a:gd name="T28" fmla="*/ 0 w 121"/>
                <a:gd name="T29" fmla="*/ 2 h 165"/>
                <a:gd name="T30" fmla="*/ 59 w 121"/>
                <a:gd name="T31" fmla="*/ 0 h 165"/>
                <a:gd name="T32" fmla="*/ 111 w 121"/>
                <a:gd name="T33" fmla="*/ 42 h 165"/>
                <a:gd name="T34" fmla="*/ 90 w 121"/>
                <a:gd name="T35" fmla="*/ 77 h 165"/>
                <a:gd name="T36" fmla="*/ 121 w 121"/>
                <a:gd name="T37" fmla="*/ 119 h 165"/>
                <a:gd name="T38" fmla="*/ 65 w 121"/>
                <a:gd name="T39" fmla="*/ 165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21" h="165">
                  <a:moveTo>
                    <a:pt x="57" y="90"/>
                  </a:moveTo>
                  <a:lnTo>
                    <a:pt x="31" y="90"/>
                  </a:lnTo>
                  <a:lnTo>
                    <a:pt x="31" y="141"/>
                  </a:lnTo>
                  <a:lnTo>
                    <a:pt x="56" y="141"/>
                  </a:lnTo>
                  <a:cubicBezTo>
                    <a:pt x="80" y="141"/>
                    <a:pt x="89" y="133"/>
                    <a:pt x="89" y="115"/>
                  </a:cubicBezTo>
                  <a:cubicBezTo>
                    <a:pt x="89" y="99"/>
                    <a:pt x="77" y="90"/>
                    <a:pt x="57" y="90"/>
                  </a:cubicBezTo>
                  <a:close/>
                  <a:moveTo>
                    <a:pt x="54" y="24"/>
                  </a:moveTo>
                  <a:lnTo>
                    <a:pt x="31" y="24"/>
                  </a:lnTo>
                  <a:lnTo>
                    <a:pt x="31" y="66"/>
                  </a:lnTo>
                  <a:lnTo>
                    <a:pt x="52" y="66"/>
                  </a:lnTo>
                  <a:cubicBezTo>
                    <a:pt x="72" y="66"/>
                    <a:pt x="79" y="58"/>
                    <a:pt x="79" y="45"/>
                  </a:cubicBezTo>
                  <a:cubicBezTo>
                    <a:pt x="79" y="34"/>
                    <a:pt x="71" y="24"/>
                    <a:pt x="54" y="24"/>
                  </a:cubicBezTo>
                  <a:close/>
                  <a:moveTo>
                    <a:pt x="65" y="165"/>
                  </a:moveTo>
                  <a:lnTo>
                    <a:pt x="0" y="165"/>
                  </a:lnTo>
                  <a:lnTo>
                    <a:pt x="0" y="2"/>
                  </a:lnTo>
                  <a:cubicBezTo>
                    <a:pt x="20" y="0"/>
                    <a:pt x="39" y="0"/>
                    <a:pt x="59" y="0"/>
                  </a:cubicBezTo>
                  <a:cubicBezTo>
                    <a:pt x="96" y="0"/>
                    <a:pt x="111" y="20"/>
                    <a:pt x="111" y="42"/>
                  </a:cubicBezTo>
                  <a:cubicBezTo>
                    <a:pt x="111" y="56"/>
                    <a:pt x="104" y="72"/>
                    <a:pt x="90" y="77"/>
                  </a:cubicBezTo>
                  <a:cubicBezTo>
                    <a:pt x="109" y="79"/>
                    <a:pt x="121" y="97"/>
                    <a:pt x="121" y="119"/>
                  </a:cubicBezTo>
                  <a:cubicBezTo>
                    <a:pt x="121" y="147"/>
                    <a:pt x="98" y="165"/>
                    <a:pt x="65" y="16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Freeform 73"/>
            <p:cNvSpPr>
              <a:spLocks/>
            </p:cNvSpPr>
            <p:nvPr/>
          </p:nvSpPr>
          <p:spPr bwMode="auto">
            <a:xfrm>
              <a:off x="-5031" y="11089"/>
              <a:ext cx="140" cy="217"/>
            </a:xfrm>
            <a:custGeom>
              <a:avLst/>
              <a:gdLst>
                <a:gd name="T0" fmla="*/ 49 w 74"/>
                <a:gd name="T1" fmla="*/ 36 h 115"/>
                <a:gd name="T2" fmla="*/ 45 w 74"/>
                <a:gd name="T3" fmla="*/ 25 h 115"/>
                <a:gd name="T4" fmla="*/ 33 w 74"/>
                <a:gd name="T5" fmla="*/ 38 h 115"/>
                <a:gd name="T6" fmla="*/ 33 w 74"/>
                <a:gd name="T7" fmla="*/ 115 h 115"/>
                <a:gd name="T8" fmla="*/ 3 w 74"/>
                <a:gd name="T9" fmla="*/ 115 h 115"/>
                <a:gd name="T10" fmla="*/ 3 w 74"/>
                <a:gd name="T11" fmla="*/ 36 h 115"/>
                <a:gd name="T12" fmla="*/ 0 w 74"/>
                <a:gd name="T13" fmla="*/ 2 h 115"/>
                <a:gd name="T14" fmla="*/ 27 w 74"/>
                <a:gd name="T15" fmla="*/ 2 h 115"/>
                <a:gd name="T16" fmla="*/ 30 w 74"/>
                <a:gd name="T17" fmla="*/ 16 h 115"/>
                <a:gd name="T18" fmla="*/ 54 w 74"/>
                <a:gd name="T19" fmla="*/ 0 h 115"/>
                <a:gd name="T20" fmla="*/ 74 w 74"/>
                <a:gd name="T21" fmla="*/ 23 h 115"/>
                <a:gd name="T22" fmla="*/ 73 w 74"/>
                <a:gd name="T23" fmla="*/ 33 h 115"/>
                <a:gd name="T24" fmla="*/ 49 w 74"/>
                <a:gd name="T25" fmla="*/ 36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4" h="115">
                  <a:moveTo>
                    <a:pt x="49" y="36"/>
                  </a:moveTo>
                  <a:cubicBezTo>
                    <a:pt x="49" y="31"/>
                    <a:pt x="49" y="25"/>
                    <a:pt x="45" y="25"/>
                  </a:cubicBezTo>
                  <a:cubicBezTo>
                    <a:pt x="41" y="25"/>
                    <a:pt x="38" y="30"/>
                    <a:pt x="33" y="38"/>
                  </a:cubicBezTo>
                  <a:lnTo>
                    <a:pt x="33" y="115"/>
                  </a:lnTo>
                  <a:lnTo>
                    <a:pt x="3" y="115"/>
                  </a:lnTo>
                  <a:lnTo>
                    <a:pt x="3" y="36"/>
                  </a:lnTo>
                  <a:cubicBezTo>
                    <a:pt x="3" y="25"/>
                    <a:pt x="1" y="13"/>
                    <a:pt x="0" y="2"/>
                  </a:cubicBezTo>
                  <a:lnTo>
                    <a:pt x="27" y="2"/>
                  </a:lnTo>
                  <a:lnTo>
                    <a:pt x="30" y="16"/>
                  </a:lnTo>
                  <a:cubicBezTo>
                    <a:pt x="34" y="8"/>
                    <a:pt x="44" y="0"/>
                    <a:pt x="54" y="0"/>
                  </a:cubicBezTo>
                  <a:cubicBezTo>
                    <a:pt x="69" y="0"/>
                    <a:pt x="74" y="9"/>
                    <a:pt x="74" y="23"/>
                  </a:cubicBezTo>
                  <a:cubicBezTo>
                    <a:pt x="74" y="26"/>
                    <a:pt x="73" y="30"/>
                    <a:pt x="73" y="33"/>
                  </a:cubicBezTo>
                  <a:lnTo>
                    <a:pt x="49" y="36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Freeform 74"/>
            <p:cNvSpPr>
              <a:spLocks noEditPoints="1"/>
            </p:cNvSpPr>
            <p:nvPr/>
          </p:nvSpPr>
          <p:spPr bwMode="auto">
            <a:xfrm>
              <a:off x="-4866" y="11088"/>
              <a:ext cx="179" cy="226"/>
            </a:xfrm>
            <a:custGeom>
              <a:avLst/>
              <a:gdLst>
                <a:gd name="T0" fmla="*/ 61 w 95"/>
                <a:gd name="T1" fmla="*/ 67 h 120"/>
                <a:gd name="T2" fmla="*/ 31 w 95"/>
                <a:gd name="T3" fmla="*/ 77 h 120"/>
                <a:gd name="T4" fmla="*/ 30 w 95"/>
                <a:gd name="T5" fmla="*/ 85 h 120"/>
                <a:gd name="T6" fmla="*/ 39 w 95"/>
                <a:gd name="T7" fmla="*/ 97 h 120"/>
                <a:gd name="T8" fmla="*/ 61 w 95"/>
                <a:gd name="T9" fmla="*/ 84 h 120"/>
                <a:gd name="T10" fmla="*/ 61 w 95"/>
                <a:gd name="T11" fmla="*/ 67 h 120"/>
                <a:gd name="T12" fmla="*/ 68 w 95"/>
                <a:gd name="T13" fmla="*/ 116 h 120"/>
                <a:gd name="T14" fmla="*/ 65 w 95"/>
                <a:gd name="T15" fmla="*/ 103 h 120"/>
                <a:gd name="T16" fmla="*/ 33 w 95"/>
                <a:gd name="T17" fmla="*/ 120 h 120"/>
                <a:gd name="T18" fmla="*/ 0 w 95"/>
                <a:gd name="T19" fmla="*/ 91 h 120"/>
                <a:gd name="T20" fmla="*/ 6 w 95"/>
                <a:gd name="T21" fmla="*/ 68 h 120"/>
                <a:gd name="T22" fmla="*/ 61 w 95"/>
                <a:gd name="T23" fmla="*/ 48 h 120"/>
                <a:gd name="T24" fmla="*/ 61 w 95"/>
                <a:gd name="T25" fmla="*/ 39 h 120"/>
                <a:gd name="T26" fmla="*/ 46 w 95"/>
                <a:gd name="T27" fmla="*/ 23 h 120"/>
                <a:gd name="T28" fmla="*/ 30 w 95"/>
                <a:gd name="T29" fmla="*/ 26 h 120"/>
                <a:gd name="T30" fmla="*/ 29 w 95"/>
                <a:gd name="T31" fmla="*/ 34 h 120"/>
                <a:gd name="T32" fmla="*/ 4 w 95"/>
                <a:gd name="T33" fmla="*/ 37 h 120"/>
                <a:gd name="T34" fmla="*/ 4 w 95"/>
                <a:gd name="T35" fmla="*/ 32 h 120"/>
                <a:gd name="T36" fmla="*/ 6 w 95"/>
                <a:gd name="T37" fmla="*/ 15 h 120"/>
                <a:gd name="T38" fmla="*/ 49 w 95"/>
                <a:gd name="T39" fmla="*/ 0 h 120"/>
                <a:gd name="T40" fmla="*/ 91 w 95"/>
                <a:gd name="T41" fmla="*/ 33 h 120"/>
                <a:gd name="T42" fmla="*/ 91 w 95"/>
                <a:gd name="T43" fmla="*/ 83 h 120"/>
                <a:gd name="T44" fmla="*/ 95 w 95"/>
                <a:gd name="T45" fmla="*/ 116 h 120"/>
                <a:gd name="T46" fmla="*/ 68 w 95"/>
                <a:gd name="T47" fmla="*/ 116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5" h="120">
                  <a:moveTo>
                    <a:pt x="61" y="67"/>
                  </a:moveTo>
                  <a:cubicBezTo>
                    <a:pt x="49" y="70"/>
                    <a:pt x="42" y="72"/>
                    <a:pt x="31" y="77"/>
                  </a:cubicBezTo>
                  <a:cubicBezTo>
                    <a:pt x="30" y="80"/>
                    <a:pt x="30" y="82"/>
                    <a:pt x="30" y="85"/>
                  </a:cubicBezTo>
                  <a:cubicBezTo>
                    <a:pt x="30" y="92"/>
                    <a:pt x="31" y="97"/>
                    <a:pt x="39" y="97"/>
                  </a:cubicBezTo>
                  <a:cubicBezTo>
                    <a:pt x="44" y="97"/>
                    <a:pt x="52" y="93"/>
                    <a:pt x="61" y="84"/>
                  </a:cubicBezTo>
                  <a:lnTo>
                    <a:pt x="61" y="67"/>
                  </a:lnTo>
                  <a:close/>
                  <a:moveTo>
                    <a:pt x="68" y="116"/>
                  </a:moveTo>
                  <a:cubicBezTo>
                    <a:pt x="66" y="112"/>
                    <a:pt x="66" y="110"/>
                    <a:pt x="65" y="103"/>
                  </a:cubicBezTo>
                  <a:cubicBezTo>
                    <a:pt x="59" y="111"/>
                    <a:pt x="48" y="120"/>
                    <a:pt x="33" y="120"/>
                  </a:cubicBezTo>
                  <a:cubicBezTo>
                    <a:pt x="13" y="120"/>
                    <a:pt x="0" y="108"/>
                    <a:pt x="0" y="91"/>
                  </a:cubicBezTo>
                  <a:cubicBezTo>
                    <a:pt x="0" y="82"/>
                    <a:pt x="2" y="72"/>
                    <a:pt x="6" y="68"/>
                  </a:cubicBezTo>
                  <a:cubicBezTo>
                    <a:pt x="12" y="60"/>
                    <a:pt x="45" y="51"/>
                    <a:pt x="61" y="48"/>
                  </a:cubicBezTo>
                  <a:lnTo>
                    <a:pt x="61" y="39"/>
                  </a:lnTo>
                  <a:cubicBezTo>
                    <a:pt x="61" y="27"/>
                    <a:pt x="59" y="23"/>
                    <a:pt x="46" y="23"/>
                  </a:cubicBezTo>
                  <a:cubicBezTo>
                    <a:pt x="41" y="23"/>
                    <a:pt x="32" y="23"/>
                    <a:pt x="30" y="26"/>
                  </a:cubicBezTo>
                  <a:cubicBezTo>
                    <a:pt x="29" y="28"/>
                    <a:pt x="29" y="30"/>
                    <a:pt x="29" y="34"/>
                  </a:cubicBezTo>
                  <a:lnTo>
                    <a:pt x="4" y="37"/>
                  </a:lnTo>
                  <a:cubicBezTo>
                    <a:pt x="4" y="35"/>
                    <a:pt x="4" y="33"/>
                    <a:pt x="4" y="32"/>
                  </a:cubicBezTo>
                  <a:cubicBezTo>
                    <a:pt x="4" y="26"/>
                    <a:pt x="5" y="20"/>
                    <a:pt x="6" y="15"/>
                  </a:cubicBezTo>
                  <a:cubicBezTo>
                    <a:pt x="8" y="10"/>
                    <a:pt x="26" y="0"/>
                    <a:pt x="49" y="0"/>
                  </a:cubicBezTo>
                  <a:cubicBezTo>
                    <a:pt x="75" y="0"/>
                    <a:pt x="91" y="13"/>
                    <a:pt x="91" y="33"/>
                  </a:cubicBezTo>
                  <a:lnTo>
                    <a:pt x="91" y="83"/>
                  </a:lnTo>
                  <a:cubicBezTo>
                    <a:pt x="91" y="96"/>
                    <a:pt x="93" y="108"/>
                    <a:pt x="95" y="116"/>
                  </a:cubicBezTo>
                  <a:lnTo>
                    <a:pt x="68" y="116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Freeform 75"/>
            <p:cNvSpPr>
              <a:spLocks/>
            </p:cNvSpPr>
            <p:nvPr/>
          </p:nvSpPr>
          <p:spPr bwMode="auto">
            <a:xfrm>
              <a:off x="-4632" y="11093"/>
              <a:ext cx="198" cy="221"/>
            </a:xfrm>
            <a:custGeom>
              <a:avLst/>
              <a:gdLst>
                <a:gd name="T0" fmla="*/ 78 w 105"/>
                <a:gd name="T1" fmla="*/ 113 h 117"/>
                <a:gd name="T2" fmla="*/ 75 w 105"/>
                <a:gd name="T3" fmla="*/ 100 h 117"/>
                <a:gd name="T4" fmla="*/ 41 w 105"/>
                <a:gd name="T5" fmla="*/ 117 h 117"/>
                <a:gd name="T6" fmla="*/ 0 w 105"/>
                <a:gd name="T7" fmla="*/ 74 h 117"/>
                <a:gd name="T8" fmla="*/ 0 w 105"/>
                <a:gd name="T9" fmla="*/ 0 h 117"/>
                <a:gd name="T10" fmla="*/ 30 w 105"/>
                <a:gd name="T11" fmla="*/ 0 h 117"/>
                <a:gd name="T12" fmla="*/ 30 w 105"/>
                <a:gd name="T13" fmla="*/ 72 h 117"/>
                <a:gd name="T14" fmla="*/ 43 w 105"/>
                <a:gd name="T15" fmla="*/ 90 h 117"/>
                <a:gd name="T16" fmla="*/ 56 w 105"/>
                <a:gd name="T17" fmla="*/ 88 h 117"/>
                <a:gd name="T18" fmla="*/ 72 w 105"/>
                <a:gd name="T19" fmla="*/ 74 h 117"/>
                <a:gd name="T20" fmla="*/ 72 w 105"/>
                <a:gd name="T21" fmla="*/ 0 h 117"/>
                <a:gd name="T22" fmla="*/ 102 w 105"/>
                <a:gd name="T23" fmla="*/ 0 h 117"/>
                <a:gd name="T24" fmla="*/ 102 w 105"/>
                <a:gd name="T25" fmla="*/ 80 h 117"/>
                <a:gd name="T26" fmla="*/ 105 w 105"/>
                <a:gd name="T27" fmla="*/ 113 h 117"/>
                <a:gd name="T28" fmla="*/ 78 w 105"/>
                <a:gd name="T29" fmla="*/ 113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5" h="117">
                  <a:moveTo>
                    <a:pt x="78" y="113"/>
                  </a:moveTo>
                  <a:lnTo>
                    <a:pt x="75" y="100"/>
                  </a:lnTo>
                  <a:cubicBezTo>
                    <a:pt x="66" y="111"/>
                    <a:pt x="55" y="117"/>
                    <a:pt x="41" y="117"/>
                  </a:cubicBezTo>
                  <a:cubicBezTo>
                    <a:pt x="11" y="117"/>
                    <a:pt x="0" y="103"/>
                    <a:pt x="0" y="74"/>
                  </a:cubicBezTo>
                  <a:lnTo>
                    <a:pt x="0" y="0"/>
                  </a:lnTo>
                  <a:lnTo>
                    <a:pt x="30" y="0"/>
                  </a:lnTo>
                  <a:lnTo>
                    <a:pt x="30" y="72"/>
                  </a:lnTo>
                  <a:cubicBezTo>
                    <a:pt x="30" y="82"/>
                    <a:pt x="31" y="90"/>
                    <a:pt x="43" y="90"/>
                  </a:cubicBezTo>
                  <a:cubicBezTo>
                    <a:pt x="46" y="90"/>
                    <a:pt x="53" y="90"/>
                    <a:pt x="56" y="88"/>
                  </a:cubicBezTo>
                  <a:cubicBezTo>
                    <a:pt x="60" y="85"/>
                    <a:pt x="68" y="79"/>
                    <a:pt x="72" y="74"/>
                  </a:cubicBezTo>
                  <a:lnTo>
                    <a:pt x="72" y="0"/>
                  </a:lnTo>
                  <a:lnTo>
                    <a:pt x="102" y="0"/>
                  </a:lnTo>
                  <a:lnTo>
                    <a:pt x="102" y="80"/>
                  </a:lnTo>
                  <a:cubicBezTo>
                    <a:pt x="102" y="91"/>
                    <a:pt x="103" y="102"/>
                    <a:pt x="105" y="113"/>
                  </a:cubicBezTo>
                  <a:lnTo>
                    <a:pt x="78" y="113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Freeform 76"/>
            <p:cNvSpPr>
              <a:spLocks/>
            </p:cNvSpPr>
            <p:nvPr/>
          </p:nvSpPr>
          <p:spPr bwMode="auto">
            <a:xfrm>
              <a:off x="-4381" y="11088"/>
              <a:ext cx="200" cy="218"/>
            </a:xfrm>
            <a:custGeom>
              <a:avLst/>
              <a:gdLst>
                <a:gd name="T0" fmla="*/ 105 w 106"/>
                <a:gd name="T1" fmla="*/ 116 h 116"/>
                <a:gd name="T2" fmla="*/ 75 w 106"/>
                <a:gd name="T3" fmla="*/ 116 h 116"/>
                <a:gd name="T4" fmla="*/ 76 w 106"/>
                <a:gd name="T5" fmla="*/ 59 h 116"/>
                <a:gd name="T6" fmla="*/ 75 w 106"/>
                <a:gd name="T7" fmla="*/ 45 h 116"/>
                <a:gd name="T8" fmla="*/ 63 w 106"/>
                <a:gd name="T9" fmla="*/ 26 h 116"/>
                <a:gd name="T10" fmla="*/ 48 w 106"/>
                <a:gd name="T11" fmla="*/ 29 h 116"/>
                <a:gd name="T12" fmla="*/ 33 w 106"/>
                <a:gd name="T13" fmla="*/ 43 h 116"/>
                <a:gd name="T14" fmla="*/ 33 w 106"/>
                <a:gd name="T15" fmla="*/ 116 h 116"/>
                <a:gd name="T16" fmla="*/ 3 w 106"/>
                <a:gd name="T17" fmla="*/ 116 h 116"/>
                <a:gd name="T18" fmla="*/ 3 w 106"/>
                <a:gd name="T19" fmla="*/ 37 h 116"/>
                <a:gd name="T20" fmla="*/ 0 w 106"/>
                <a:gd name="T21" fmla="*/ 3 h 116"/>
                <a:gd name="T22" fmla="*/ 27 w 106"/>
                <a:gd name="T23" fmla="*/ 3 h 116"/>
                <a:gd name="T24" fmla="*/ 30 w 106"/>
                <a:gd name="T25" fmla="*/ 16 h 116"/>
                <a:gd name="T26" fmla="*/ 64 w 106"/>
                <a:gd name="T27" fmla="*/ 0 h 116"/>
                <a:gd name="T28" fmla="*/ 106 w 106"/>
                <a:gd name="T29" fmla="*/ 49 h 116"/>
                <a:gd name="T30" fmla="*/ 106 w 106"/>
                <a:gd name="T31" fmla="*/ 63 h 116"/>
                <a:gd name="T32" fmla="*/ 105 w 106"/>
                <a:gd name="T33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6" h="116">
                  <a:moveTo>
                    <a:pt x="105" y="116"/>
                  </a:moveTo>
                  <a:lnTo>
                    <a:pt x="75" y="116"/>
                  </a:lnTo>
                  <a:cubicBezTo>
                    <a:pt x="76" y="84"/>
                    <a:pt x="76" y="80"/>
                    <a:pt x="76" y="59"/>
                  </a:cubicBezTo>
                  <a:cubicBezTo>
                    <a:pt x="76" y="55"/>
                    <a:pt x="76" y="50"/>
                    <a:pt x="75" y="45"/>
                  </a:cubicBezTo>
                  <a:cubicBezTo>
                    <a:pt x="74" y="30"/>
                    <a:pt x="72" y="26"/>
                    <a:pt x="63" y="26"/>
                  </a:cubicBezTo>
                  <a:cubicBezTo>
                    <a:pt x="58" y="26"/>
                    <a:pt x="50" y="27"/>
                    <a:pt x="48" y="29"/>
                  </a:cubicBezTo>
                  <a:cubicBezTo>
                    <a:pt x="47" y="30"/>
                    <a:pt x="38" y="36"/>
                    <a:pt x="33" y="43"/>
                  </a:cubicBezTo>
                  <a:lnTo>
                    <a:pt x="33" y="116"/>
                  </a:lnTo>
                  <a:lnTo>
                    <a:pt x="3" y="116"/>
                  </a:lnTo>
                  <a:lnTo>
                    <a:pt x="3" y="37"/>
                  </a:lnTo>
                  <a:cubicBezTo>
                    <a:pt x="3" y="27"/>
                    <a:pt x="1" y="10"/>
                    <a:pt x="0" y="3"/>
                  </a:cubicBezTo>
                  <a:lnTo>
                    <a:pt x="27" y="3"/>
                  </a:lnTo>
                  <a:lnTo>
                    <a:pt x="30" y="16"/>
                  </a:lnTo>
                  <a:cubicBezTo>
                    <a:pt x="40" y="5"/>
                    <a:pt x="51" y="0"/>
                    <a:pt x="64" y="0"/>
                  </a:cubicBezTo>
                  <a:cubicBezTo>
                    <a:pt x="103" y="0"/>
                    <a:pt x="106" y="24"/>
                    <a:pt x="106" y="49"/>
                  </a:cubicBezTo>
                  <a:lnTo>
                    <a:pt x="106" y="63"/>
                  </a:lnTo>
                  <a:cubicBezTo>
                    <a:pt x="106" y="79"/>
                    <a:pt x="106" y="88"/>
                    <a:pt x="105" y="11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Freeform 77"/>
            <p:cNvSpPr>
              <a:spLocks/>
            </p:cNvSpPr>
            <p:nvPr/>
          </p:nvSpPr>
          <p:spPr bwMode="auto">
            <a:xfrm>
              <a:off x="-4128" y="11088"/>
              <a:ext cx="168" cy="226"/>
            </a:xfrm>
            <a:custGeom>
              <a:avLst/>
              <a:gdLst>
                <a:gd name="T0" fmla="*/ 42 w 89"/>
                <a:gd name="T1" fmla="*/ 120 h 120"/>
                <a:gd name="T2" fmla="*/ 0 w 89"/>
                <a:gd name="T3" fmla="*/ 109 h 120"/>
                <a:gd name="T4" fmla="*/ 4 w 89"/>
                <a:gd name="T5" fmla="*/ 84 h 120"/>
                <a:gd name="T6" fmla="*/ 41 w 89"/>
                <a:gd name="T7" fmla="*/ 95 h 120"/>
                <a:gd name="T8" fmla="*/ 59 w 89"/>
                <a:gd name="T9" fmla="*/ 87 h 120"/>
                <a:gd name="T10" fmla="*/ 0 w 89"/>
                <a:gd name="T11" fmla="*/ 33 h 120"/>
                <a:gd name="T12" fmla="*/ 47 w 89"/>
                <a:gd name="T13" fmla="*/ 0 h 120"/>
                <a:gd name="T14" fmla="*/ 86 w 89"/>
                <a:gd name="T15" fmla="*/ 10 h 120"/>
                <a:gd name="T16" fmla="*/ 82 w 89"/>
                <a:gd name="T17" fmla="*/ 37 h 120"/>
                <a:gd name="T18" fmla="*/ 45 w 89"/>
                <a:gd name="T19" fmla="*/ 24 h 120"/>
                <a:gd name="T20" fmla="*/ 30 w 89"/>
                <a:gd name="T21" fmla="*/ 32 h 120"/>
                <a:gd name="T22" fmla="*/ 89 w 89"/>
                <a:gd name="T23" fmla="*/ 84 h 120"/>
                <a:gd name="T24" fmla="*/ 42 w 89"/>
                <a:gd name="T25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9" h="120">
                  <a:moveTo>
                    <a:pt x="42" y="120"/>
                  </a:moveTo>
                  <a:cubicBezTo>
                    <a:pt x="27" y="120"/>
                    <a:pt x="13" y="117"/>
                    <a:pt x="0" y="109"/>
                  </a:cubicBezTo>
                  <a:lnTo>
                    <a:pt x="4" y="84"/>
                  </a:lnTo>
                  <a:cubicBezTo>
                    <a:pt x="17" y="91"/>
                    <a:pt x="24" y="95"/>
                    <a:pt x="41" y="95"/>
                  </a:cubicBezTo>
                  <a:cubicBezTo>
                    <a:pt x="55" y="95"/>
                    <a:pt x="59" y="90"/>
                    <a:pt x="59" y="87"/>
                  </a:cubicBezTo>
                  <a:cubicBezTo>
                    <a:pt x="59" y="69"/>
                    <a:pt x="0" y="74"/>
                    <a:pt x="0" y="33"/>
                  </a:cubicBezTo>
                  <a:cubicBezTo>
                    <a:pt x="0" y="13"/>
                    <a:pt x="17" y="0"/>
                    <a:pt x="47" y="0"/>
                  </a:cubicBezTo>
                  <a:cubicBezTo>
                    <a:pt x="61" y="0"/>
                    <a:pt x="70" y="3"/>
                    <a:pt x="86" y="10"/>
                  </a:cubicBezTo>
                  <a:lnTo>
                    <a:pt x="82" y="37"/>
                  </a:lnTo>
                  <a:cubicBezTo>
                    <a:pt x="67" y="26"/>
                    <a:pt x="54" y="24"/>
                    <a:pt x="45" y="24"/>
                  </a:cubicBezTo>
                  <a:cubicBezTo>
                    <a:pt x="40" y="24"/>
                    <a:pt x="30" y="26"/>
                    <a:pt x="30" y="32"/>
                  </a:cubicBezTo>
                  <a:cubicBezTo>
                    <a:pt x="30" y="49"/>
                    <a:pt x="89" y="46"/>
                    <a:pt x="89" y="84"/>
                  </a:cubicBezTo>
                  <a:cubicBezTo>
                    <a:pt x="89" y="103"/>
                    <a:pt x="73" y="120"/>
                    <a:pt x="42" y="12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Freeform 78"/>
            <p:cNvSpPr>
              <a:spLocks/>
            </p:cNvSpPr>
            <p:nvPr/>
          </p:nvSpPr>
          <p:spPr bwMode="auto">
            <a:xfrm>
              <a:off x="-3924" y="11088"/>
              <a:ext cx="184" cy="226"/>
            </a:xfrm>
            <a:custGeom>
              <a:avLst/>
              <a:gdLst>
                <a:gd name="T0" fmla="*/ 56 w 97"/>
                <a:gd name="T1" fmla="*/ 120 h 120"/>
                <a:gd name="T2" fmla="*/ 0 w 97"/>
                <a:gd name="T3" fmla="*/ 59 h 120"/>
                <a:gd name="T4" fmla="*/ 53 w 97"/>
                <a:gd name="T5" fmla="*/ 0 h 120"/>
                <a:gd name="T6" fmla="*/ 96 w 97"/>
                <a:gd name="T7" fmla="*/ 24 h 120"/>
                <a:gd name="T8" fmla="*/ 96 w 97"/>
                <a:gd name="T9" fmla="*/ 30 h 120"/>
                <a:gd name="T10" fmla="*/ 95 w 97"/>
                <a:gd name="T11" fmla="*/ 37 h 120"/>
                <a:gd name="T12" fmla="*/ 66 w 97"/>
                <a:gd name="T13" fmla="*/ 37 h 120"/>
                <a:gd name="T14" fmla="*/ 55 w 97"/>
                <a:gd name="T15" fmla="*/ 24 h 120"/>
                <a:gd name="T16" fmla="*/ 46 w 97"/>
                <a:gd name="T17" fmla="*/ 26 h 120"/>
                <a:gd name="T18" fmla="*/ 32 w 97"/>
                <a:gd name="T19" fmla="*/ 58 h 120"/>
                <a:gd name="T20" fmla="*/ 61 w 97"/>
                <a:gd name="T21" fmla="*/ 94 h 120"/>
                <a:gd name="T22" fmla="*/ 94 w 97"/>
                <a:gd name="T23" fmla="*/ 79 h 120"/>
                <a:gd name="T24" fmla="*/ 97 w 97"/>
                <a:gd name="T25" fmla="*/ 107 h 120"/>
                <a:gd name="T26" fmla="*/ 56 w 97"/>
                <a:gd name="T27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7" h="120">
                  <a:moveTo>
                    <a:pt x="56" y="120"/>
                  </a:moveTo>
                  <a:cubicBezTo>
                    <a:pt x="23" y="120"/>
                    <a:pt x="0" y="98"/>
                    <a:pt x="0" y="59"/>
                  </a:cubicBezTo>
                  <a:cubicBezTo>
                    <a:pt x="0" y="18"/>
                    <a:pt x="27" y="0"/>
                    <a:pt x="53" y="0"/>
                  </a:cubicBezTo>
                  <a:cubicBezTo>
                    <a:pt x="76" y="0"/>
                    <a:pt x="96" y="5"/>
                    <a:pt x="96" y="24"/>
                  </a:cubicBezTo>
                  <a:lnTo>
                    <a:pt x="96" y="30"/>
                  </a:lnTo>
                  <a:cubicBezTo>
                    <a:pt x="96" y="32"/>
                    <a:pt x="96" y="34"/>
                    <a:pt x="95" y="37"/>
                  </a:cubicBezTo>
                  <a:lnTo>
                    <a:pt x="66" y="37"/>
                  </a:lnTo>
                  <a:cubicBezTo>
                    <a:pt x="66" y="26"/>
                    <a:pt x="63" y="24"/>
                    <a:pt x="55" y="24"/>
                  </a:cubicBezTo>
                  <a:cubicBezTo>
                    <a:pt x="50" y="24"/>
                    <a:pt x="47" y="25"/>
                    <a:pt x="46" y="26"/>
                  </a:cubicBezTo>
                  <a:cubicBezTo>
                    <a:pt x="43" y="26"/>
                    <a:pt x="32" y="33"/>
                    <a:pt x="32" y="58"/>
                  </a:cubicBezTo>
                  <a:cubicBezTo>
                    <a:pt x="32" y="88"/>
                    <a:pt x="48" y="94"/>
                    <a:pt x="61" y="94"/>
                  </a:cubicBezTo>
                  <a:cubicBezTo>
                    <a:pt x="69" y="94"/>
                    <a:pt x="78" y="93"/>
                    <a:pt x="94" y="79"/>
                  </a:cubicBezTo>
                  <a:lnTo>
                    <a:pt x="97" y="107"/>
                  </a:lnTo>
                  <a:cubicBezTo>
                    <a:pt x="81" y="117"/>
                    <a:pt x="70" y="120"/>
                    <a:pt x="56" y="12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" name="Freeform 79"/>
            <p:cNvSpPr>
              <a:spLocks/>
            </p:cNvSpPr>
            <p:nvPr/>
          </p:nvSpPr>
          <p:spPr bwMode="auto">
            <a:xfrm>
              <a:off x="-3691" y="10963"/>
              <a:ext cx="194" cy="343"/>
            </a:xfrm>
            <a:custGeom>
              <a:avLst/>
              <a:gdLst>
                <a:gd name="T0" fmla="*/ 102 w 103"/>
                <a:gd name="T1" fmla="*/ 182 h 182"/>
                <a:gd name="T2" fmla="*/ 72 w 103"/>
                <a:gd name="T3" fmla="*/ 182 h 182"/>
                <a:gd name="T4" fmla="*/ 73 w 103"/>
                <a:gd name="T5" fmla="*/ 132 h 182"/>
                <a:gd name="T6" fmla="*/ 60 w 103"/>
                <a:gd name="T7" fmla="*/ 92 h 182"/>
                <a:gd name="T8" fmla="*/ 45 w 103"/>
                <a:gd name="T9" fmla="*/ 95 h 182"/>
                <a:gd name="T10" fmla="*/ 30 w 103"/>
                <a:gd name="T11" fmla="*/ 109 h 182"/>
                <a:gd name="T12" fmla="*/ 30 w 103"/>
                <a:gd name="T13" fmla="*/ 182 h 182"/>
                <a:gd name="T14" fmla="*/ 0 w 103"/>
                <a:gd name="T15" fmla="*/ 182 h 182"/>
                <a:gd name="T16" fmla="*/ 0 w 103"/>
                <a:gd name="T17" fmla="*/ 0 h 182"/>
                <a:gd name="T18" fmla="*/ 30 w 103"/>
                <a:gd name="T19" fmla="*/ 0 h 182"/>
                <a:gd name="T20" fmla="*/ 30 w 103"/>
                <a:gd name="T21" fmla="*/ 79 h 182"/>
                <a:gd name="T22" fmla="*/ 61 w 103"/>
                <a:gd name="T23" fmla="*/ 66 h 182"/>
                <a:gd name="T24" fmla="*/ 103 w 103"/>
                <a:gd name="T25" fmla="*/ 115 h 182"/>
                <a:gd name="T26" fmla="*/ 103 w 103"/>
                <a:gd name="T27" fmla="*/ 129 h 182"/>
                <a:gd name="T28" fmla="*/ 102 w 103"/>
                <a:gd name="T29" fmla="*/ 182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3" h="182">
                  <a:moveTo>
                    <a:pt x="102" y="182"/>
                  </a:moveTo>
                  <a:lnTo>
                    <a:pt x="72" y="182"/>
                  </a:lnTo>
                  <a:cubicBezTo>
                    <a:pt x="73" y="154"/>
                    <a:pt x="73" y="148"/>
                    <a:pt x="73" y="132"/>
                  </a:cubicBezTo>
                  <a:cubicBezTo>
                    <a:pt x="73" y="101"/>
                    <a:pt x="72" y="92"/>
                    <a:pt x="60" y="92"/>
                  </a:cubicBezTo>
                  <a:cubicBezTo>
                    <a:pt x="55" y="92"/>
                    <a:pt x="47" y="93"/>
                    <a:pt x="45" y="95"/>
                  </a:cubicBezTo>
                  <a:cubicBezTo>
                    <a:pt x="43" y="96"/>
                    <a:pt x="35" y="102"/>
                    <a:pt x="30" y="109"/>
                  </a:cubicBezTo>
                  <a:lnTo>
                    <a:pt x="30" y="182"/>
                  </a:lnTo>
                  <a:lnTo>
                    <a:pt x="0" y="182"/>
                  </a:lnTo>
                  <a:lnTo>
                    <a:pt x="0" y="0"/>
                  </a:lnTo>
                  <a:lnTo>
                    <a:pt x="30" y="0"/>
                  </a:lnTo>
                  <a:lnTo>
                    <a:pt x="30" y="79"/>
                  </a:lnTo>
                  <a:cubicBezTo>
                    <a:pt x="39" y="71"/>
                    <a:pt x="49" y="66"/>
                    <a:pt x="61" y="66"/>
                  </a:cubicBezTo>
                  <a:cubicBezTo>
                    <a:pt x="100" y="66"/>
                    <a:pt x="103" y="90"/>
                    <a:pt x="103" y="115"/>
                  </a:cubicBezTo>
                  <a:cubicBezTo>
                    <a:pt x="103" y="120"/>
                    <a:pt x="103" y="125"/>
                    <a:pt x="103" y="129"/>
                  </a:cubicBezTo>
                  <a:cubicBezTo>
                    <a:pt x="103" y="145"/>
                    <a:pt x="103" y="154"/>
                    <a:pt x="102" y="18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" name="Freeform 80"/>
            <p:cNvSpPr>
              <a:spLocks/>
            </p:cNvSpPr>
            <p:nvPr/>
          </p:nvSpPr>
          <p:spPr bwMode="auto">
            <a:xfrm>
              <a:off x="-3465" y="11086"/>
              <a:ext cx="312" cy="228"/>
            </a:xfrm>
            <a:custGeom>
              <a:avLst/>
              <a:gdLst>
                <a:gd name="T0" fmla="*/ 233 w 312"/>
                <a:gd name="T1" fmla="*/ 228 h 228"/>
                <a:gd name="T2" fmla="*/ 201 w 312"/>
                <a:gd name="T3" fmla="*/ 228 h 228"/>
                <a:gd name="T4" fmla="*/ 157 w 312"/>
                <a:gd name="T5" fmla="*/ 126 h 228"/>
                <a:gd name="T6" fmla="*/ 118 w 312"/>
                <a:gd name="T7" fmla="*/ 228 h 228"/>
                <a:gd name="T8" fmla="*/ 85 w 312"/>
                <a:gd name="T9" fmla="*/ 228 h 228"/>
                <a:gd name="T10" fmla="*/ 0 w 312"/>
                <a:gd name="T11" fmla="*/ 7 h 228"/>
                <a:gd name="T12" fmla="*/ 61 w 312"/>
                <a:gd name="T13" fmla="*/ 7 h 228"/>
                <a:gd name="T14" fmla="*/ 106 w 312"/>
                <a:gd name="T15" fmla="*/ 130 h 228"/>
                <a:gd name="T16" fmla="*/ 157 w 312"/>
                <a:gd name="T17" fmla="*/ 0 h 228"/>
                <a:gd name="T18" fmla="*/ 214 w 312"/>
                <a:gd name="T19" fmla="*/ 134 h 228"/>
                <a:gd name="T20" fmla="*/ 257 w 312"/>
                <a:gd name="T21" fmla="*/ 7 h 228"/>
                <a:gd name="T22" fmla="*/ 312 w 312"/>
                <a:gd name="T23" fmla="*/ 7 h 228"/>
                <a:gd name="T24" fmla="*/ 233 w 312"/>
                <a:gd name="T25" fmla="*/ 228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12" h="228">
                  <a:moveTo>
                    <a:pt x="233" y="228"/>
                  </a:moveTo>
                  <a:lnTo>
                    <a:pt x="201" y="228"/>
                  </a:lnTo>
                  <a:lnTo>
                    <a:pt x="157" y="126"/>
                  </a:lnTo>
                  <a:lnTo>
                    <a:pt x="118" y="228"/>
                  </a:lnTo>
                  <a:lnTo>
                    <a:pt x="85" y="228"/>
                  </a:lnTo>
                  <a:lnTo>
                    <a:pt x="0" y="7"/>
                  </a:lnTo>
                  <a:lnTo>
                    <a:pt x="61" y="7"/>
                  </a:lnTo>
                  <a:lnTo>
                    <a:pt x="106" y="130"/>
                  </a:lnTo>
                  <a:lnTo>
                    <a:pt x="157" y="0"/>
                  </a:lnTo>
                  <a:lnTo>
                    <a:pt x="214" y="134"/>
                  </a:lnTo>
                  <a:lnTo>
                    <a:pt x="257" y="7"/>
                  </a:lnTo>
                  <a:lnTo>
                    <a:pt x="312" y="7"/>
                  </a:lnTo>
                  <a:lnTo>
                    <a:pt x="233" y="22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Freeform 81"/>
            <p:cNvSpPr>
              <a:spLocks noEditPoints="1"/>
            </p:cNvSpPr>
            <p:nvPr/>
          </p:nvSpPr>
          <p:spPr bwMode="auto">
            <a:xfrm>
              <a:off x="-3136" y="11088"/>
              <a:ext cx="199" cy="226"/>
            </a:xfrm>
            <a:custGeom>
              <a:avLst/>
              <a:gdLst>
                <a:gd name="T0" fmla="*/ 55 w 105"/>
                <a:gd name="T1" fmla="*/ 23 h 120"/>
                <a:gd name="T2" fmla="*/ 42 w 105"/>
                <a:gd name="T3" fmla="*/ 26 h 120"/>
                <a:gd name="T4" fmla="*/ 33 w 105"/>
                <a:gd name="T5" fmla="*/ 45 h 120"/>
                <a:gd name="T6" fmla="*/ 78 w 105"/>
                <a:gd name="T7" fmla="*/ 45 h 120"/>
                <a:gd name="T8" fmla="*/ 55 w 105"/>
                <a:gd name="T9" fmla="*/ 23 h 120"/>
                <a:gd name="T10" fmla="*/ 32 w 105"/>
                <a:gd name="T11" fmla="*/ 63 h 120"/>
                <a:gd name="T12" fmla="*/ 61 w 105"/>
                <a:gd name="T13" fmla="*/ 94 h 120"/>
                <a:gd name="T14" fmla="*/ 100 w 105"/>
                <a:gd name="T15" fmla="*/ 77 h 120"/>
                <a:gd name="T16" fmla="*/ 103 w 105"/>
                <a:gd name="T17" fmla="*/ 107 h 120"/>
                <a:gd name="T18" fmla="*/ 55 w 105"/>
                <a:gd name="T19" fmla="*/ 120 h 120"/>
                <a:gd name="T20" fmla="*/ 0 w 105"/>
                <a:gd name="T21" fmla="*/ 60 h 120"/>
                <a:gd name="T22" fmla="*/ 55 w 105"/>
                <a:gd name="T23" fmla="*/ 0 h 120"/>
                <a:gd name="T24" fmla="*/ 105 w 105"/>
                <a:gd name="T25" fmla="*/ 63 h 120"/>
                <a:gd name="T26" fmla="*/ 32 w 105"/>
                <a:gd name="T27" fmla="*/ 63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5" h="120">
                  <a:moveTo>
                    <a:pt x="55" y="23"/>
                  </a:moveTo>
                  <a:cubicBezTo>
                    <a:pt x="51" y="23"/>
                    <a:pt x="43" y="26"/>
                    <a:pt x="42" y="26"/>
                  </a:cubicBezTo>
                  <a:cubicBezTo>
                    <a:pt x="42" y="27"/>
                    <a:pt x="34" y="34"/>
                    <a:pt x="33" y="45"/>
                  </a:cubicBezTo>
                  <a:lnTo>
                    <a:pt x="78" y="45"/>
                  </a:lnTo>
                  <a:cubicBezTo>
                    <a:pt x="77" y="32"/>
                    <a:pt x="74" y="23"/>
                    <a:pt x="55" y="23"/>
                  </a:cubicBezTo>
                  <a:close/>
                  <a:moveTo>
                    <a:pt x="32" y="63"/>
                  </a:moveTo>
                  <a:cubicBezTo>
                    <a:pt x="32" y="79"/>
                    <a:pt x="44" y="94"/>
                    <a:pt x="61" y="94"/>
                  </a:cubicBezTo>
                  <a:cubicBezTo>
                    <a:pt x="73" y="94"/>
                    <a:pt x="86" y="89"/>
                    <a:pt x="100" y="77"/>
                  </a:cubicBezTo>
                  <a:lnTo>
                    <a:pt x="103" y="107"/>
                  </a:lnTo>
                  <a:cubicBezTo>
                    <a:pt x="90" y="115"/>
                    <a:pt x="77" y="120"/>
                    <a:pt x="55" y="120"/>
                  </a:cubicBezTo>
                  <a:cubicBezTo>
                    <a:pt x="23" y="120"/>
                    <a:pt x="0" y="97"/>
                    <a:pt x="0" y="60"/>
                  </a:cubicBezTo>
                  <a:cubicBezTo>
                    <a:pt x="0" y="23"/>
                    <a:pt x="23" y="0"/>
                    <a:pt x="55" y="0"/>
                  </a:cubicBezTo>
                  <a:cubicBezTo>
                    <a:pt x="94" y="0"/>
                    <a:pt x="105" y="21"/>
                    <a:pt x="105" y="63"/>
                  </a:cubicBezTo>
                  <a:lnTo>
                    <a:pt x="32" y="63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Freeform 82"/>
            <p:cNvSpPr>
              <a:spLocks noEditPoints="1"/>
            </p:cNvSpPr>
            <p:nvPr/>
          </p:nvSpPr>
          <p:spPr bwMode="auto">
            <a:xfrm>
              <a:off x="-2886" y="10986"/>
              <a:ext cx="66" cy="320"/>
            </a:xfrm>
            <a:custGeom>
              <a:avLst/>
              <a:gdLst>
                <a:gd name="T0" fmla="*/ 3 w 35"/>
                <a:gd name="T1" fmla="*/ 170 h 170"/>
                <a:gd name="T2" fmla="*/ 3 w 35"/>
                <a:gd name="T3" fmla="*/ 57 h 170"/>
                <a:gd name="T4" fmla="*/ 33 w 35"/>
                <a:gd name="T5" fmla="*/ 57 h 170"/>
                <a:gd name="T6" fmla="*/ 33 w 35"/>
                <a:gd name="T7" fmla="*/ 170 h 170"/>
                <a:gd name="T8" fmla="*/ 3 w 35"/>
                <a:gd name="T9" fmla="*/ 170 h 170"/>
                <a:gd name="T10" fmla="*/ 18 w 35"/>
                <a:gd name="T11" fmla="*/ 36 h 170"/>
                <a:gd name="T12" fmla="*/ 0 w 35"/>
                <a:gd name="T13" fmla="*/ 17 h 170"/>
                <a:gd name="T14" fmla="*/ 18 w 35"/>
                <a:gd name="T15" fmla="*/ 0 h 170"/>
                <a:gd name="T16" fmla="*/ 35 w 35"/>
                <a:gd name="T17" fmla="*/ 17 h 170"/>
                <a:gd name="T18" fmla="*/ 18 w 35"/>
                <a:gd name="T19" fmla="*/ 36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" h="170">
                  <a:moveTo>
                    <a:pt x="3" y="170"/>
                  </a:moveTo>
                  <a:lnTo>
                    <a:pt x="3" y="57"/>
                  </a:lnTo>
                  <a:lnTo>
                    <a:pt x="33" y="57"/>
                  </a:lnTo>
                  <a:lnTo>
                    <a:pt x="33" y="170"/>
                  </a:lnTo>
                  <a:lnTo>
                    <a:pt x="3" y="170"/>
                  </a:lnTo>
                  <a:close/>
                  <a:moveTo>
                    <a:pt x="18" y="36"/>
                  </a:moveTo>
                  <a:cubicBezTo>
                    <a:pt x="8" y="36"/>
                    <a:pt x="0" y="28"/>
                    <a:pt x="0" y="17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7" y="0"/>
                    <a:pt x="35" y="7"/>
                    <a:pt x="35" y="17"/>
                  </a:cubicBezTo>
                  <a:cubicBezTo>
                    <a:pt x="35" y="27"/>
                    <a:pt x="27" y="36"/>
                    <a:pt x="18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Freeform 83"/>
            <p:cNvSpPr>
              <a:spLocks noEditPoints="1"/>
            </p:cNvSpPr>
            <p:nvPr/>
          </p:nvSpPr>
          <p:spPr bwMode="auto">
            <a:xfrm>
              <a:off x="-2773" y="11088"/>
              <a:ext cx="232" cy="341"/>
            </a:xfrm>
            <a:custGeom>
              <a:avLst/>
              <a:gdLst>
                <a:gd name="T0" fmla="*/ 55 w 123"/>
                <a:gd name="T1" fmla="*/ 23 h 181"/>
                <a:gd name="T2" fmla="*/ 40 w 123"/>
                <a:gd name="T3" fmla="*/ 27 h 181"/>
                <a:gd name="T4" fmla="*/ 34 w 123"/>
                <a:gd name="T5" fmla="*/ 43 h 181"/>
                <a:gd name="T6" fmla="*/ 55 w 123"/>
                <a:gd name="T7" fmla="*/ 65 h 181"/>
                <a:gd name="T8" fmla="*/ 69 w 123"/>
                <a:gd name="T9" fmla="*/ 60 h 181"/>
                <a:gd name="T10" fmla="*/ 75 w 123"/>
                <a:gd name="T11" fmla="*/ 43 h 181"/>
                <a:gd name="T12" fmla="*/ 55 w 123"/>
                <a:gd name="T13" fmla="*/ 23 h 181"/>
                <a:gd name="T14" fmla="*/ 71 w 123"/>
                <a:gd name="T15" fmla="*/ 128 h 181"/>
                <a:gd name="T16" fmla="*/ 41 w 123"/>
                <a:gd name="T17" fmla="*/ 129 h 181"/>
                <a:gd name="T18" fmla="*/ 28 w 123"/>
                <a:gd name="T19" fmla="*/ 146 h 181"/>
                <a:gd name="T20" fmla="*/ 52 w 123"/>
                <a:gd name="T21" fmla="*/ 158 h 181"/>
                <a:gd name="T22" fmla="*/ 87 w 123"/>
                <a:gd name="T23" fmla="*/ 135 h 181"/>
                <a:gd name="T24" fmla="*/ 71 w 123"/>
                <a:gd name="T25" fmla="*/ 128 h 181"/>
                <a:gd name="T26" fmla="*/ 104 w 123"/>
                <a:gd name="T27" fmla="*/ 30 h 181"/>
                <a:gd name="T28" fmla="*/ 107 w 123"/>
                <a:gd name="T29" fmla="*/ 43 h 181"/>
                <a:gd name="T30" fmla="*/ 54 w 123"/>
                <a:gd name="T31" fmla="*/ 88 h 181"/>
                <a:gd name="T32" fmla="*/ 39 w 123"/>
                <a:gd name="T33" fmla="*/ 86 h 181"/>
                <a:gd name="T34" fmla="*/ 32 w 123"/>
                <a:gd name="T35" fmla="*/ 98 h 181"/>
                <a:gd name="T36" fmla="*/ 38 w 123"/>
                <a:gd name="T37" fmla="*/ 103 h 181"/>
                <a:gd name="T38" fmla="*/ 74 w 123"/>
                <a:gd name="T39" fmla="*/ 102 h 181"/>
                <a:gd name="T40" fmla="*/ 117 w 123"/>
                <a:gd name="T41" fmla="*/ 132 h 181"/>
                <a:gd name="T42" fmla="*/ 49 w 123"/>
                <a:gd name="T43" fmla="*/ 181 h 181"/>
                <a:gd name="T44" fmla="*/ 0 w 123"/>
                <a:gd name="T45" fmla="*/ 154 h 181"/>
                <a:gd name="T46" fmla="*/ 20 w 123"/>
                <a:gd name="T47" fmla="*/ 126 h 181"/>
                <a:gd name="T48" fmla="*/ 3 w 123"/>
                <a:gd name="T49" fmla="*/ 106 h 181"/>
                <a:gd name="T50" fmla="*/ 26 w 123"/>
                <a:gd name="T51" fmla="*/ 80 h 181"/>
                <a:gd name="T52" fmla="*/ 2 w 123"/>
                <a:gd name="T53" fmla="*/ 43 h 181"/>
                <a:gd name="T54" fmla="*/ 54 w 123"/>
                <a:gd name="T55" fmla="*/ 0 h 181"/>
                <a:gd name="T56" fmla="*/ 85 w 123"/>
                <a:gd name="T57" fmla="*/ 9 h 181"/>
                <a:gd name="T58" fmla="*/ 123 w 123"/>
                <a:gd name="T59" fmla="*/ 4 h 181"/>
                <a:gd name="T60" fmla="*/ 123 w 123"/>
                <a:gd name="T61" fmla="*/ 30 h 181"/>
                <a:gd name="T62" fmla="*/ 104 w 123"/>
                <a:gd name="T63" fmla="*/ 3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23" h="181">
                  <a:moveTo>
                    <a:pt x="55" y="23"/>
                  </a:moveTo>
                  <a:cubicBezTo>
                    <a:pt x="47" y="23"/>
                    <a:pt x="41" y="26"/>
                    <a:pt x="40" y="27"/>
                  </a:cubicBezTo>
                  <a:cubicBezTo>
                    <a:pt x="39" y="28"/>
                    <a:pt x="34" y="35"/>
                    <a:pt x="34" y="43"/>
                  </a:cubicBezTo>
                  <a:cubicBezTo>
                    <a:pt x="34" y="56"/>
                    <a:pt x="42" y="65"/>
                    <a:pt x="55" y="65"/>
                  </a:cubicBezTo>
                  <a:cubicBezTo>
                    <a:pt x="61" y="65"/>
                    <a:pt x="68" y="61"/>
                    <a:pt x="69" y="60"/>
                  </a:cubicBezTo>
                  <a:cubicBezTo>
                    <a:pt x="70" y="59"/>
                    <a:pt x="75" y="54"/>
                    <a:pt x="75" y="43"/>
                  </a:cubicBezTo>
                  <a:cubicBezTo>
                    <a:pt x="75" y="32"/>
                    <a:pt x="69" y="23"/>
                    <a:pt x="55" y="23"/>
                  </a:cubicBezTo>
                  <a:close/>
                  <a:moveTo>
                    <a:pt x="71" y="128"/>
                  </a:moveTo>
                  <a:cubicBezTo>
                    <a:pt x="59" y="128"/>
                    <a:pt x="52" y="129"/>
                    <a:pt x="41" y="129"/>
                  </a:cubicBezTo>
                  <a:cubicBezTo>
                    <a:pt x="34" y="134"/>
                    <a:pt x="28" y="139"/>
                    <a:pt x="28" y="146"/>
                  </a:cubicBezTo>
                  <a:cubicBezTo>
                    <a:pt x="28" y="155"/>
                    <a:pt x="36" y="158"/>
                    <a:pt x="52" y="158"/>
                  </a:cubicBezTo>
                  <a:cubicBezTo>
                    <a:pt x="76" y="158"/>
                    <a:pt x="87" y="145"/>
                    <a:pt x="87" y="135"/>
                  </a:cubicBezTo>
                  <a:cubicBezTo>
                    <a:pt x="87" y="129"/>
                    <a:pt x="86" y="128"/>
                    <a:pt x="71" y="128"/>
                  </a:cubicBezTo>
                  <a:close/>
                  <a:moveTo>
                    <a:pt x="104" y="30"/>
                  </a:moveTo>
                  <a:cubicBezTo>
                    <a:pt x="106" y="35"/>
                    <a:pt x="107" y="38"/>
                    <a:pt x="107" y="43"/>
                  </a:cubicBezTo>
                  <a:cubicBezTo>
                    <a:pt x="107" y="70"/>
                    <a:pt x="86" y="88"/>
                    <a:pt x="54" y="88"/>
                  </a:cubicBezTo>
                  <a:cubicBezTo>
                    <a:pt x="49" y="88"/>
                    <a:pt x="45" y="88"/>
                    <a:pt x="39" y="86"/>
                  </a:cubicBezTo>
                  <a:cubicBezTo>
                    <a:pt x="35" y="90"/>
                    <a:pt x="32" y="93"/>
                    <a:pt x="32" y="98"/>
                  </a:cubicBezTo>
                  <a:cubicBezTo>
                    <a:pt x="32" y="102"/>
                    <a:pt x="35" y="103"/>
                    <a:pt x="38" y="103"/>
                  </a:cubicBezTo>
                  <a:cubicBezTo>
                    <a:pt x="50" y="103"/>
                    <a:pt x="61" y="102"/>
                    <a:pt x="74" y="102"/>
                  </a:cubicBezTo>
                  <a:cubicBezTo>
                    <a:pt x="101" y="102"/>
                    <a:pt x="117" y="105"/>
                    <a:pt x="117" y="132"/>
                  </a:cubicBezTo>
                  <a:cubicBezTo>
                    <a:pt x="117" y="165"/>
                    <a:pt x="82" y="181"/>
                    <a:pt x="49" y="181"/>
                  </a:cubicBezTo>
                  <a:cubicBezTo>
                    <a:pt x="23" y="181"/>
                    <a:pt x="0" y="176"/>
                    <a:pt x="0" y="154"/>
                  </a:cubicBezTo>
                  <a:cubicBezTo>
                    <a:pt x="0" y="137"/>
                    <a:pt x="13" y="131"/>
                    <a:pt x="20" y="126"/>
                  </a:cubicBezTo>
                  <a:cubicBezTo>
                    <a:pt x="14" y="124"/>
                    <a:pt x="3" y="119"/>
                    <a:pt x="3" y="106"/>
                  </a:cubicBezTo>
                  <a:cubicBezTo>
                    <a:pt x="3" y="94"/>
                    <a:pt x="17" y="88"/>
                    <a:pt x="26" y="80"/>
                  </a:cubicBezTo>
                  <a:cubicBezTo>
                    <a:pt x="11" y="72"/>
                    <a:pt x="2" y="63"/>
                    <a:pt x="2" y="43"/>
                  </a:cubicBezTo>
                  <a:cubicBezTo>
                    <a:pt x="2" y="18"/>
                    <a:pt x="24" y="0"/>
                    <a:pt x="54" y="0"/>
                  </a:cubicBezTo>
                  <a:cubicBezTo>
                    <a:pt x="70" y="0"/>
                    <a:pt x="77" y="4"/>
                    <a:pt x="85" y="9"/>
                  </a:cubicBezTo>
                  <a:cubicBezTo>
                    <a:pt x="90" y="9"/>
                    <a:pt x="108" y="9"/>
                    <a:pt x="123" y="4"/>
                  </a:cubicBezTo>
                  <a:lnTo>
                    <a:pt x="123" y="30"/>
                  </a:lnTo>
                  <a:lnTo>
                    <a:pt x="104" y="30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17" name="Textfeld 116"/>
          <p:cNvSpPr txBox="1"/>
          <p:nvPr/>
        </p:nvSpPr>
        <p:spPr>
          <a:xfrm>
            <a:off x="38698" y="38939922"/>
            <a:ext cx="806259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4000" dirty="0" err="1" smtClean="0"/>
              <a:t>Jointly</a:t>
            </a:r>
            <a:r>
              <a:rPr lang="de-DE" sz="4000" dirty="0" smtClean="0"/>
              <a:t> </a:t>
            </a:r>
            <a:r>
              <a:rPr lang="de-DE" sz="4000" dirty="0" err="1" smtClean="0"/>
              <a:t>organized</a:t>
            </a:r>
            <a:r>
              <a:rPr lang="de-DE" sz="4000" dirty="0" smtClean="0"/>
              <a:t> </a:t>
            </a:r>
            <a:r>
              <a:rPr lang="de-DE" sz="4000" dirty="0" err="1" smtClean="0"/>
              <a:t>by</a:t>
            </a:r>
            <a:endParaRPr lang="en-US" sz="4000" dirty="0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SIGNERDESIGNGRIDFILE" val="\\Inform001\transfer (d)\transfer\projekte\archiv\projekte\patrick\projekte\TU Braunschweig\ppt\included data\design grids\wissen a0 02.ini"/>
  <p:tag name="EE4P_STYLE_ID" val="6cd991bf-f022-4378-96e7-2c338aeb3f5a"/>
</p:tagLst>
</file>

<file path=ppt/theme/theme1.xml><?xml version="1.0" encoding="utf-8"?>
<a:theme xmlns:a="http://schemas.openxmlformats.org/drawingml/2006/main" name="Standarddesign">
  <a:themeElements>
    <a:clrScheme name="Standarddesign 6">
      <a:dk1>
        <a:srgbClr val="000000"/>
      </a:dk1>
      <a:lt1>
        <a:srgbClr val="FFFFFF"/>
      </a:lt1>
      <a:dk2>
        <a:srgbClr val="000000"/>
      </a:dk2>
      <a:lt2>
        <a:srgbClr val="33756E"/>
      </a:lt2>
      <a:accent1>
        <a:srgbClr val="00534A"/>
      </a:accent1>
      <a:accent2>
        <a:srgbClr val="669892"/>
      </a:accent2>
      <a:accent3>
        <a:srgbClr val="FFFFFF"/>
      </a:accent3>
      <a:accent4>
        <a:srgbClr val="000000"/>
      </a:accent4>
      <a:accent5>
        <a:srgbClr val="AAB3B1"/>
      </a:accent5>
      <a:accent6>
        <a:srgbClr val="5C8984"/>
      </a:accent6>
      <a:hlink>
        <a:srgbClr val="99BAB7"/>
      </a:hlink>
      <a:folHlink>
        <a:srgbClr val="CCDDDB"/>
      </a:folHlink>
    </a:clrScheme>
    <a:fontScheme name="Standard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16083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8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16083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8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Standarddesign 1">
        <a:dk1>
          <a:srgbClr val="000000"/>
        </a:dk1>
        <a:lt1>
          <a:srgbClr val="FFFFFF"/>
        </a:lt1>
        <a:dk2>
          <a:srgbClr val="000000"/>
        </a:dk2>
        <a:lt2>
          <a:srgbClr val="FFD355"/>
        </a:lt2>
        <a:accent1>
          <a:srgbClr val="FFC82A"/>
        </a:accent1>
        <a:accent2>
          <a:srgbClr val="FFDE7F"/>
        </a:accent2>
        <a:accent3>
          <a:srgbClr val="FFFFFF"/>
        </a:accent3>
        <a:accent4>
          <a:srgbClr val="000000"/>
        </a:accent4>
        <a:accent5>
          <a:srgbClr val="FFE0AC"/>
        </a:accent5>
        <a:accent6>
          <a:srgbClr val="E7C972"/>
        </a:accent6>
        <a:hlink>
          <a:srgbClr val="FFE9AA"/>
        </a:hlink>
        <a:folHlink>
          <a:srgbClr val="FFF4D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2">
        <a:dk1>
          <a:srgbClr val="000000"/>
        </a:dk1>
        <a:lt1>
          <a:srgbClr val="FFFFFF"/>
        </a:lt1>
        <a:dk2>
          <a:srgbClr val="000000"/>
        </a:dk2>
        <a:lt2>
          <a:srgbClr val="E78A33"/>
        </a:lt2>
        <a:accent1>
          <a:srgbClr val="E16D00"/>
        </a:accent1>
        <a:accent2>
          <a:srgbClr val="EDA766"/>
        </a:accent2>
        <a:accent3>
          <a:srgbClr val="FFFFFF"/>
        </a:accent3>
        <a:accent4>
          <a:srgbClr val="000000"/>
        </a:accent4>
        <a:accent5>
          <a:srgbClr val="EEBAAA"/>
        </a:accent5>
        <a:accent6>
          <a:srgbClr val="D7975C"/>
        </a:accent6>
        <a:hlink>
          <a:srgbClr val="F3C599"/>
        </a:hlink>
        <a:folHlink>
          <a:srgbClr val="F9E2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3">
        <a:dk1>
          <a:srgbClr val="000000"/>
        </a:dk1>
        <a:lt1>
          <a:srgbClr val="FFFFFF"/>
        </a:lt1>
        <a:dk2>
          <a:srgbClr val="000000"/>
        </a:dk2>
        <a:lt2>
          <a:srgbClr val="8D4959"/>
        </a:lt2>
        <a:accent1>
          <a:srgbClr val="711C2F"/>
        </a:accent1>
        <a:accent2>
          <a:srgbClr val="AA7782"/>
        </a:accent2>
        <a:accent3>
          <a:srgbClr val="FFFFFF"/>
        </a:accent3>
        <a:accent4>
          <a:srgbClr val="000000"/>
        </a:accent4>
        <a:accent5>
          <a:srgbClr val="BBABAD"/>
        </a:accent5>
        <a:accent6>
          <a:srgbClr val="9A6B75"/>
        </a:accent6>
        <a:hlink>
          <a:srgbClr val="C6A4AC"/>
        </a:hlink>
        <a:folHlink>
          <a:srgbClr val="E3D2D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4">
        <a:dk1>
          <a:srgbClr val="000000"/>
        </a:dk1>
        <a:lt1>
          <a:srgbClr val="FFFFFF"/>
        </a:lt1>
        <a:dk2>
          <a:srgbClr val="000000"/>
        </a:dk2>
        <a:lt2>
          <a:srgbClr val="BDCD61"/>
        </a:lt2>
        <a:accent1>
          <a:srgbClr val="ACC13A"/>
        </a:accent1>
        <a:accent2>
          <a:srgbClr val="CDDA89"/>
        </a:accent2>
        <a:accent3>
          <a:srgbClr val="FFFFFF"/>
        </a:accent3>
        <a:accent4>
          <a:srgbClr val="000000"/>
        </a:accent4>
        <a:accent5>
          <a:srgbClr val="D2DDAE"/>
        </a:accent5>
        <a:accent6>
          <a:srgbClr val="BAC57C"/>
        </a:accent6>
        <a:hlink>
          <a:srgbClr val="DEE6B0"/>
        </a:hlink>
        <a:folHlink>
          <a:srgbClr val="EEF3D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5">
        <a:dk1>
          <a:srgbClr val="000000"/>
        </a:dk1>
        <a:lt1>
          <a:srgbClr val="FFFFFF"/>
        </a:lt1>
        <a:dk2>
          <a:srgbClr val="000000"/>
        </a:dk2>
        <a:lt2>
          <a:srgbClr val="8A9C33"/>
        </a:lt2>
        <a:accent1>
          <a:srgbClr val="6D8300"/>
        </a:accent1>
        <a:accent2>
          <a:srgbClr val="A7B566"/>
        </a:accent2>
        <a:accent3>
          <a:srgbClr val="FFFFFF"/>
        </a:accent3>
        <a:accent4>
          <a:srgbClr val="000000"/>
        </a:accent4>
        <a:accent5>
          <a:srgbClr val="BAC1AA"/>
        </a:accent5>
        <a:accent6>
          <a:srgbClr val="97A45C"/>
        </a:accent6>
        <a:hlink>
          <a:srgbClr val="C5CD99"/>
        </a:hlink>
        <a:folHlink>
          <a:srgbClr val="E2E6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6">
        <a:dk1>
          <a:srgbClr val="000000"/>
        </a:dk1>
        <a:lt1>
          <a:srgbClr val="FFFFFF"/>
        </a:lt1>
        <a:dk2>
          <a:srgbClr val="000000"/>
        </a:dk2>
        <a:lt2>
          <a:srgbClr val="33756E"/>
        </a:lt2>
        <a:accent1>
          <a:srgbClr val="00534A"/>
        </a:accent1>
        <a:accent2>
          <a:srgbClr val="669892"/>
        </a:accent2>
        <a:accent3>
          <a:srgbClr val="FFFFFF"/>
        </a:accent3>
        <a:accent4>
          <a:srgbClr val="000000"/>
        </a:accent4>
        <a:accent5>
          <a:srgbClr val="AAB3B1"/>
        </a:accent5>
        <a:accent6>
          <a:srgbClr val="5C8984"/>
        </a:accent6>
        <a:hlink>
          <a:srgbClr val="99BAB7"/>
        </a:hlink>
        <a:folHlink>
          <a:srgbClr val="CCDDD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7">
        <a:dk1>
          <a:srgbClr val="000000"/>
        </a:dk1>
        <a:lt1>
          <a:srgbClr val="FFFFFF"/>
        </a:lt1>
        <a:dk2>
          <a:srgbClr val="000000"/>
        </a:dk2>
        <a:lt2>
          <a:srgbClr val="85C3DC"/>
        </a:lt2>
        <a:accent1>
          <a:srgbClr val="66B4D3"/>
        </a:accent1>
        <a:accent2>
          <a:srgbClr val="A3D2E5"/>
        </a:accent2>
        <a:accent3>
          <a:srgbClr val="FFFFFF"/>
        </a:accent3>
        <a:accent4>
          <a:srgbClr val="000000"/>
        </a:accent4>
        <a:accent5>
          <a:srgbClr val="B8D6E6"/>
        </a:accent5>
        <a:accent6>
          <a:srgbClr val="93BECF"/>
        </a:accent6>
        <a:hlink>
          <a:srgbClr val="C2E1ED"/>
        </a:hlink>
        <a:folHlink>
          <a:srgbClr val="E0F0F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8">
        <a:dk1>
          <a:srgbClr val="000000"/>
        </a:dk1>
        <a:lt1>
          <a:srgbClr val="FFFFFF"/>
        </a:lt1>
        <a:dk2>
          <a:srgbClr val="000000"/>
        </a:dk2>
        <a:lt2>
          <a:srgbClr val="338DAF"/>
        </a:lt2>
        <a:accent1>
          <a:srgbClr val="00709B"/>
        </a:accent1>
        <a:accent2>
          <a:srgbClr val="66A9C3"/>
        </a:accent2>
        <a:accent3>
          <a:srgbClr val="FFFFFF"/>
        </a:accent3>
        <a:accent4>
          <a:srgbClr val="000000"/>
        </a:accent4>
        <a:accent5>
          <a:srgbClr val="AABBCB"/>
        </a:accent5>
        <a:accent6>
          <a:srgbClr val="5C99B0"/>
        </a:accent6>
        <a:hlink>
          <a:srgbClr val="99C6D7"/>
        </a:hlink>
        <a:folHlink>
          <a:srgbClr val="CCE2E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9">
        <a:dk1>
          <a:srgbClr val="000000"/>
        </a:dk1>
        <a:lt1>
          <a:srgbClr val="FFFFFF"/>
        </a:lt1>
        <a:dk2>
          <a:srgbClr val="000000"/>
        </a:dk2>
        <a:lt2>
          <a:srgbClr val="336579"/>
        </a:lt2>
        <a:accent1>
          <a:srgbClr val="003F57"/>
        </a:accent1>
        <a:accent2>
          <a:srgbClr val="668C9A"/>
        </a:accent2>
        <a:accent3>
          <a:srgbClr val="FFFFFF"/>
        </a:accent3>
        <a:accent4>
          <a:srgbClr val="000000"/>
        </a:accent4>
        <a:accent5>
          <a:srgbClr val="AAAFB4"/>
        </a:accent5>
        <a:accent6>
          <a:srgbClr val="5C7E8B"/>
        </a:accent6>
        <a:hlink>
          <a:srgbClr val="99B2BC"/>
        </a:hlink>
        <a:folHlink>
          <a:srgbClr val="CCD9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10">
        <a:dk1>
          <a:srgbClr val="000000"/>
        </a:dk1>
        <a:lt1>
          <a:srgbClr val="FFFFFF"/>
        </a:lt1>
        <a:dk2>
          <a:srgbClr val="000000"/>
        </a:dk2>
        <a:lt2>
          <a:srgbClr val="A15999"/>
        </a:lt2>
        <a:accent1>
          <a:srgbClr val="8A307F"/>
        </a:accent1>
        <a:accent2>
          <a:srgbClr val="B983B2"/>
        </a:accent2>
        <a:accent3>
          <a:srgbClr val="FFFFFF"/>
        </a:accent3>
        <a:accent4>
          <a:srgbClr val="000000"/>
        </a:accent4>
        <a:accent5>
          <a:srgbClr val="C4ADC0"/>
        </a:accent5>
        <a:accent6>
          <a:srgbClr val="A776A1"/>
        </a:accent6>
        <a:hlink>
          <a:srgbClr val="D0ACCC"/>
        </a:hlink>
        <a:folHlink>
          <a:srgbClr val="E8D6E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11">
        <a:dk1>
          <a:srgbClr val="000000"/>
        </a:dk1>
        <a:lt1>
          <a:srgbClr val="FFFFFF"/>
        </a:lt1>
        <a:dk2>
          <a:srgbClr val="000000"/>
        </a:dk2>
        <a:lt2>
          <a:srgbClr val="74416B"/>
        </a:lt2>
        <a:accent1>
          <a:srgbClr val="511246"/>
        </a:accent1>
        <a:accent2>
          <a:srgbClr val="977190"/>
        </a:accent2>
        <a:accent3>
          <a:srgbClr val="FFFFFF"/>
        </a:accent3>
        <a:accent4>
          <a:srgbClr val="000000"/>
        </a:accent4>
        <a:accent5>
          <a:srgbClr val="B3AAB0"/>
        </a:accent5>
        <a:accent6>
          <a:srgbClr val="886682"/>
        </a:accent6>
        <a:hlink>
          <a:srgbClr val="B9A0B5"/>
        </a:hlink>
        <a:folHlink>
          <a:srgbClr val="DCD0D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12">
        <a:dk1>
          <a:srgbClr val="000000"/>
        </a:dk1>
        <a:lt1>
          <a:srgbClr val="FFFFFF"/>
        </a:lt1>
        <a:dk2>
          <a:srgbClr val="000000"/>
        </a:dk2>
        <a:lt2>
          <a:srgbClr val="704659"/>
        </a:lt2>
        <a:accent1>
          <a:srgbClr val="4C1830"/>
        </a:accent1>
        <a:accent2>
          <a:srgbClr val="947483"/>
        </a:accent2>
        <a:accent3>
          <a:srgbClr val="FFFFFF"/>
        </a:accent3>
        <a:accent4>
          <a:srgbClr val="000000"/>
        </a:accent4>
        <a:accent5>
          <a:srgbClr val="B2ABAD"/>
        </a:accent5>
        <a:accent6>
          <a:srgbClr val="866876"/>
        </a:accent6>
        <a:hlink>
          <a:srgbClr val="B7A3AC"/>
        </a:hlink>
        <a:folHlink>
          <a:srgbClr val="DBD1D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1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CCCCCC"/>
        </a:accent1>
        <a:accent2>
          <a:srgbClr val="66666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5C5C5C"/>
        </a:accent6>
        <a:hlink>
          <a:srgbClr val="999999"/>
        </a:hlink>
        <a:folHlink>
          <a:srgbClr val="CCCC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39</Words>
  <Application>Microsoft Office PowerPoint</Application>
  <PresentationFormat>Benutzerdefiniert</PresentationFormat>
  <Paragraphs>58</Paragraphs>
  <Slides>1</Slides>
  <Notes>1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4" baseType="lpstr">
      <vt:lpstr>Arial</vt:lpstr>
      <vt:lpstr>Wingdings</vt:lpstr>
      <vt:lpstr>Standarddesign</vt:lpstr>
      <vt:lpstr>PowerPoint-Präsentation</vt:lpstr>
    </vt:vector>
  </TitlesOfParts>
  <Company>indieso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Patrick Wania</dc:creator>
  <cp:lastModifiedBy>Benjamin Uhlig</cp:lastModifiedBy>
  <cp:revision>226</cp:revision>
  <cp:lastPrinted>2013-07-19T09:32:48Z</cp:lastPrinted>
  <dcterms:created xsi:type="dcterms:W3CDTF">2010-02-09T20:46:41Z</dcterms:created>
  <dcterms:modified xsi:type="dcterms:W3CDTF">2019-08-26T11:51:25Z</dcterms:modified>
</cp:coreProperties>
</file>